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theme/theme4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theme/theme5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theme/theme6.xml" ContentType="application/vnd.openxmlformats-officedocument.theme+xml"/>
  <Override PartName="/ppt/tags/tag77.xml" ContentType="application/vnd.openxmlformats-officedocument.presentationml.tags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theme/theme7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heme/theme8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51" r:id="rId4"/>
    <p:sldMasterId id="2147483921" r:id="rId5"/>
    <p:sldMasterId id="2147483996" r:id="rId6"/>
    <p:sldMasterId id="2147484080" r:id="rId7"/>
    <p:sldMasterId id="2147484144" r:id="rId8"/>
    <p:sldMasterId id="2147484224" r:id="rId9"/>
    <p:sldMasterId id="2147484321" r:id="rId10"/>
  </p:sldMasterIdLst>
  <p:notesMasterIdLst>
    <p:notesMasterId r:id="rId11"/>
  </p:notesMaster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orient="horz" pos="840" userDrawn="1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2F8F009-B1A1-AF9B-E2CC-BB0CF8EF433A}" name="Huang, Joanne" initials="JH" userId="S::joahuang@visa.com::05d18848-ed9a-4b8e-98cc-860121603a0f" providerId="AD"/>
  <p188:author id="{7A897A19-76C4-1B6F-F4A6-97D72EDE243E}" name="Gassman, Robert" initials="GR" userId="S::rogassma@visa.com::e40323a9-5df2-4c14-9823-c06d51179656" providerId="AD"/>
  <p188:author id="{5461031D-1634-2CFF-37D8-FEC0299E7757}" name="Akella, Chirag" initials="CA" userId="S::chiakell@visa.com::b5d8b5c9-ac34-4424-83db-a72e8640a6cf" providerId="AD"/>
  <p188:author id="{605DCD31-5235-F095-41F4-539BF36811B6}" name="Sposato, Vincent" initials="SV" userId="S::visposat@visa.com::b671af62-4b22-438c-a304-9401d45e2b21" providerId="AD"/>
  <p188:author id="{A852BF34-F5D4-1DF1-1EB3-F08BD99DE747}" name="Reutov, Alex" initials="RA" userId="S::oreutov@visa.com::3e5007a8-7783-4368-9f2a-975138273c61" providerId="AD"/>
  <p188:author id="{28512A3F-CE34-BB4C-AB52-DF47E831689B}" name="Zambrano Ramos, David" initials="" userId="S::dazambra@visa.com::5d5fce17-1c15-40cb-86ab-883b43dc5135" providerId="AD"/>
  <p188:author id="{DB705741-1F15-0407-4BF9-230EAD8A2621}" name="Brown, Cheyanne" initials="BC" userId="S::chebrown@visa.com::87fb6c11-22cc-49b0-b907-fd4052e267d3" providerId="AD"/>
  <p188:author id="{B4AC254E-2044-E76E-C694-868D61BB341B}" name="Kandavalli, Issac" initials="KI" userId="S::ikandava@visa.com::62993ad6-99d9-4fe6-8718-11eb1063be0c" providerId="AD"/>
  <p188:author id="{8034B24E-3B9F-212D-F8D1-5A2C0E73921D}" name="Birnberg, Adam" initials="AB" userId="S::abirnber@visa.com::82fafd15-c7d1-475d-af9a-928017c77a04" providerId="AD"/>
  <p188:author id="{E819D781-C460-F238-394D-6D5D73E9559A}" name="Haider, Asad" initials="HA" userId="S::ashaider@visa.com::e0455562-22f5-497f-ba56-249c0d1134e4" providerId="AD"/>
  <p188:author id="{103D8985-A33C-3468-F9DB-741E6C746646}" name="Kennedy, Joseph" initials="JK" userId="S::josekenn@visa.com::a16510d3-8e09-4cf2-b0a7-297887bca08b" providerId="AD"/>
  <p188:author id="{9906F8A7-C003-2A4C-B80D-F4E991EE823E}" name="Liu, Lorraine" initials="YL" userId="S::yanzliu@visa.com::2c13d54d-5d20-4799-a32e-582a69e3dadc" providerId="AD"/>
  <p188:author id="{EE2FFDAC-580D-4291-E3EC-9BB9F2E3AFEE}" name="Carsanaro, Scott" initials="CS" userId="S::scarsana@visa.com::56e8c9d5-2260-4ff6-9d81-72402f01e82c" providerId="AD"/>
  <p188:author id="{4DA26EAE-A4CD-9C64-B556-70FDF2F055B9}" name="Zhan, Stanley" initials="ZS" userId="S::szhan@visa.com::f9a7479b-6a66-4366-9ab0-45ff99aa70e1" providerId="AD"/>
  <p188:author id="{96D681B3-DF51-805F-3D7E-FDE7D3360DCB}" name="Parmar, Annubha" initials="PA" userId="S::aparmar@visa.com::34a1c2e9-f74e-4501-9288-1508aa585234" providerId="AD"/>
  <p188:author id="{E23482CB-865C-C3EA-6B33-135E3EE4B7A3}" name="Gorman, Saul" initials="SG" userId="S::sgorman@visa.com::9fbddb84-5edb-4eed-bce0-9bf6526a1857" providerId="AD"/>
  <p188:author id="{B812C4E9-EDD2-45A4-40E0-9203E7EF8443}" name="Granat, Michael" initials="MG" userId="S::mgranat@visa.com::b437a21d-4a69-4123-9025-9b6fb6094d1d" providerId="AD"/>
  <p188:author id="{9EA59FED-A219-3065-73E5-7389BE56EB01}" name="Hartman, Michael" initials="MH" userId="S::mihartma@visa.com::a5e4309d-3f1c-4a10-b421-8aa159ca0486" providerId="AD"/>
  <p188:author id="{7CC4E1F8-4FB4-9D60-AFA4-D76DCFF68EC5}" name="Mack, Susan" initials="MS" userId="S::sumack@visa.com::5f3a671e-bf3b-4171-9266-07ce4155aba0" providerId="AD"/>
  <p188:author id="{6BD9F1F8-2197-CF34-01C8-7335F823E9C5}" name="Bokaie, Davin" initials="DB" userId="S::dbokaie@visa.com::1854c3b0-386e-4d04-8c62-1dcd78a6c2c3" providerId="AD"/>
  <p188:author id="{E2DA32FF-8C12-7CCD-060F-62DDAE1D8348}" name="Debelak, Christopher" initials="DC" userId="S::cdebelak@visa.com::cb32202b-75e1-46ff-88d6-3ddf809a1f1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wider, Allison" initials="SA" lastIdx="1" clrIdx="0">
    <p:extLst>
      <p:ext uri="{19B8F6BF-5375-455C-9EA6-DF929625EA0E}">
        <p15:presenceInfo xmlns:p15="http://schemas.microsoft.com/office/powerpoint/2012/main" userId="S::aswider@visa.com::18e6e3b6-464c-4ed5-a37a-82573eb6bd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0A6D32"/>
    <a:srgbClr val="FFFFB9"/>
    <a:srgbClr val="FFD08B"/>
    <a:srgbClr val="FCC015"/>
    <a:srgbClr val="1434CB"/>
    <a:srgbClr val="021E4C"/>
    <a:srgbClr val="F0F0F0"/>
    <a:srgbClr val="F7A105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2702BD-32A1-4AEE-A610-D110B47AECF1}" v="5" dt="2024-07-30T19:42:06.306"/>
    <p1510:client id="{C3933A9B-4D8C-4381-AF5D-CB001018FB71}" v="26" dt="2024-07-30T15:30:11.514"/>
  </p1510:revLst>
</p1510:revInfo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60" autoAdjust="0"/>
    <p:restoredTop sz="94630"/>
  </p:normalViewPr>
  <p:slideViewPr>
    <p:cSldViewPr snapToGrid="0">
      <p:cViewPr varScale="1">
        <p:scale>
          <a:sx n="144" d="100"/>
          <a:sy n="144" d="100"/>
        </p:scale>
        <p:origin x="944" y="184"/>
      </p:cViewPr>
      <p:guideLst>
        <p:guide orient="horz" pos="2184"/>
        <p:guide orient="horz" pos="84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in, Rohit" userId="d730cf42-8c70-45f1-8cf9-0acd8eccdde5" providerId="ADAL" clId="{5B2702BD-32A1-4AEE-A610-D110B47AECF1}"/>
    <pc:docChg chg="custSel modSld">
      <pc:chgData name="Jain, Rohit" userId="d730cf42-8c70-45f1-8cf9-0acd8eccdde5" providerId="ADAL" clId="{5B2702BD-32A1-4AEE-A610-D110B47AECF1}" dt="2024-07-30T19:45:51.203" v="36" actId="1035"/>
      <pc:docMkLst>
        <pc:docMk/>
      </pc:docMkLst>
      <pc:sldChg chg="delSp modSp mod">
        <pc:chgData name="Jain, Rohit" userId="d730cf42-8c70-45f1-8cf9-0acd8eccdde5" providerId="ADAL" clId="{5B2702BD-32A1-4AEE-A610-D110B47AECF1}" dt="2024-07-30T19:42:18.555" v="12" actId="478"/>
        <pc:sldMkLst>
          <pc:docMk/>
          <pc:sldMk cId="338945700" sldId="339"/>
        </pc:sldMkLst>
        <pc:graphicFrameChg chg="del mod modVis">
          <ac:chgData name="Jain, Rohit" userId="d730cf42-8c70-45f1-8cf9-0acd8eccdde5" providerId="ADAL" clId="{5B2702BD-32A1-4AEE-A610-D110B47AECF1}" dt="2024-07-30T19:42:18.555" v="12" actId="478"/>
          <ac:graphicFrameMkLst>
            <pc:docMk/>
            <pc:sldMk cId="338945700" sldId="339"/>
            <ac:graphicFrameMk id="4" creationId="{611E7864-D9EA-D814-4B9E-15C388369829}"/>
          </ac:graphicFrameMkLst>
        </pc:graphicFrameChg>
      </pc:sldChg>
      <pc:sldChg chg="delSp modSp mod">
        <pc:chgData name="Jain, Rohit" userId="d730cf42-8c70-45f1-8cf9-0acd8eccdde5" providerId="ADAL" clId="{5B2702BD-32A1-4AEE-A610-D110B47AECF1}" dt="2024-07-30T19:42:07.522" v="10" actId="478"/>
        <pc:sldMkLst>
          <pc:docMk/>
          <pc:sldMk cId="3669853013" sldId="469"/>
        </pc:sldMkLst>
        <pc:graphicFrameChg chg="del mod modVis">
          <ac:chgData name="Jain, Rohit" userId="d730cf42-8c70-45f1-8cf9-0acd8eccdde5" providerId="ADAL" clId="{5B2702BD-32A1-4AEE-A610-D110B47AECF1}" dt="2024-07-30T19:42:07.522" v="10" actId="478"/>
          <ac:graphicFrameMkLst>
            <pc:docMk/>
            <pc:sldMk cId="3669853013" sldId="469"/>
            <ac:graphicFrameMk id="6" creationId="{C5C878BB-2599-ACAC-D19C-8397325D56B0}"/>
          </ac:graphicFrameMkLst>
        </pc:graphicFrameChg>
      </pc:sldChg>
      <pc:sldChg chg="delSp modSp mod">
        <pc:chgData name="Jain, Rohit" userId="d730cf42-8c70-45f1-8cf9-0acd8eccdde5" providerId="ADAL" clId="{5B2702BD-32A1-4AEE-A610-D110B47AECF1}" dt="2024-07-30T19:42:32.321" v="14" actId="478"/>
        <pc:sldMkLst>
          <pc:docMk/>
          <pc:sldMk cId="1385275178" sldId="2147376712"/>
        </pc:sldMkLst>
        <pc:graphicFrameChg chg="del mod modVis">
          <ac:chgData name="Jain, Rohit" userId="d730cf42-8c70-45f1-8cf9-0acd8eccdde5" providerId="ADAL" clId="{5B2702BD-32A1-4AEE-A610-D110B47AECF1}" dt="2024-07-30T19:42:32.321" v="14" actId="478"/>
          <ac:graphicFrameMkLst>
            <pc:docMk/>
            <pc:sldMk cId="1385275178" sldId="2147376712"/>
            <ac:graphicFrameMk id="5" creationId="{4518996F-A38A-4331-97B2-2EEC1E49C3C6}"/>
          </ac:graphicFrameMkLst>
        </pc:graphicFrameChg>
      </pc:sldChg>
      <pc:sldChg chg="delSp modSp mod">
        <pc:chgData name="Jain, Rohit" userId="d730cf42-8c70-45f1-8cf9-0acd8eccdde5" providerId="ADAL" clId="{5B2702BD-32A1-4AEE-A610-D110B47AECF1}" dt="2024-07-30T19:45:51.203" v="36" actId="1035"/>
        <pc:sldMkLst>
          <pc:docMk/>
          <pc:sldMk cId="2541320896" sldId="2147469300"/>
        </pc:sldMkLst>
        <pc:spChg chg="mod">
          <ac:chgData name="Jain, Rohit" userId="d730cf42-8c70-45f1-8cf9-0acd8eccdde5" providerId="ADAL" clId="{5B2702BD-32A1-4AEE-A610-D110B47AECF1}" dt="2024-07-30T19:45:51.203" v="36" actId="1035"/>
          <ac:spMkLst>
            <pc:docMk/>
            <pc:sldMk cId="2541320896" sldId="2147469300"/>
            <ac:spMk id="2" creationId="{11BA56A9-ECDF-768E-0D4A-CB948DBB671E}"/>
          </ac:spMkLst>
        </pc:spChg>
        <pc:graphicFrameChg chg="del mod modVis">
          <ac:chgData name="Jain, Rohit" userId="d730cf42-8c70-45f1-8cf9-0acd8eccdde5" providerId="ADAL" clId="{5B2702BD-32A1-4AEE-A610-D110B47AECF1}" dt="2024-07-30T19:43:18.814" v="28" actId="478"/>
          <ac:graphicFrameMkLst>
            <pc:docMk/>
            <pc:sldMk cId="2541320896" sldId="2147469300"/>
            <ac:graphicFrameMk id="10" creationId="{507B5B01-AFFA-7D5D-FD17-657ABB5397AF}"/>
          </ac:graphicFrameMkLst>
        </pc:graphicFrameChg>
      </pc:sldChg>
      <pc:sldChg chg="delSp modSp mod">
        <pc:chgData name="Jain, Rohit" userId="d730cf42-8c70-45f1-8cf9-0acd8eccdde5" providerId="ADAL" clId="{5B2702BD-32A1-4AEE-A610-D110B47AECF1}" dt="2024-07-30T19:42:54.362" v="20" actId="478"/>
        <pc:sldMkLst>
          <pc:docMk/>
          <pc:sldMk cId="3569717421" sldId="2147471879"/>
        </pc:sldMkLst>
        <pc:graphicFrameChg chg="del mod modVis">
          <ac:chgData name="Jain, Rohit" userId="d730cf42-8c70-45f1-8cf9-0acd8eccdde5" providerId="ADAL" clId="{5B2702BD-32A1-4AEE-A610-D110B47AECF1}" dt="2024-07-30T19:42:54.362" v="20" actId="478"/>
          <ac:graphicFrameMkLst>
            <pc:docMk/>
            <pc:sldMk cId="3569717421" sldId="2147471879"/>
            <ac:graphicFrameMk id="3" creationId="{D83FCD18-8042-43C1-92DE-D4AE276EBD08}"/>
          </ac:graphicFrameMkLst>
        </pc:graphicFrameChg>
      </pc:sldChg>
      <pc:sldChg chg="delSp modSp mod">
        <pc:chgData name="Jain, Rohit" userId="d730cf42-8c70-45f1-8cf9-0acd8eccdde5" providerId="ADAL" clId="{5B2702BD-32A1-4AEE-A610-D110B47AECF1}" dt="2024-07-30T19:42:42.616" v="16" actId="478"/>
        <pc:sldMkLst>
          <pc:docMk/>
          <pc:sldMk cId="3869484612" sldId="2147472060"/>
        </pc:sldMkLst>
        <pc:graphicFrameChg chg="del mod modVis">
          <ac:chgData name="Jain, Rohit" userId="d730cf42-8c70-45f1-8cf9-0acd8eccdde5" providerId="ADAL" clId="{5B2702BD-32A1-4AEE-A610-D110B47AECF1}" dt="2024-07-30T19:42:42.616" v="16" actId="478"/>
          <ac:graphicFrameMkLst>
            <pc:docMk/>
            <pc:sldMk cId="3869484612" sldId="2147472060"/>
            <ac:graphicFrameMk id="22" creationId="{34040889-B214-4D01-9468-8FA13E1EC9C9}"/>
          </ac:graphicFrameMkLst>
        </pc:graphicFrameChg>
      </pc:sldChg>
      <pc:sldChg chg="delSp modSp mod">
        <pc:chgData name="Jain, Rohit" userId="d730cf42-8c70-45f1-8cf9-0acd8eccdde5" providerId="ADAL" clId="{5B2702BD-32A1-4AEE-A610-D110B47AECF1}" dt="2024-07-30T19:43:13.967" v="26" actId="478"/>
        <pc:sldMkLst>
          <pc:docMk/>
          <pc:sldMk cId="1966686106" sldId="2147483487"/>
        </pc:sldMkLst>
        <pc:graphicFrameChg chg="del mod modVis">
          <ac:chgData name="Jain, Rohit" userId="d730cf42-8c70-45f1-8cf9-0acd8eccdde5" providerId="ADAL" clId="{5B2702BD-32A1-4AEE-A610-D110B47AECF1}" dt="2024-07-30T19:43:13.967" v="26" actId="478"/>
          <ac:graphicFrameMkLst>
            <pc:docMk/>
            <pc:sldMk cId="1966686106" sldId="2147483487"/>
            <ac:graphicFrameMk id="6" creationId="{00000000-0000-0000-0000-000000000000}"/>
          </ac:graphicFrameMkLst>
        </pc:graphicFrameChg>
      </pc:sldChg>
      <pc:sldChg chg="delSp modSp mod">
        <pc:chgData name="Jain, Rohit" userId="d730cf42-8c70-45f1-8cf9-0acd8eccdde5" providerId="ADAL" clId="{5B2702BD-32A1-4AEE-A610-D110B47AECF1}" dt="2024-07-30T19:42:47.954" v="18" actId="478"/>
        <pc:sldMkLst>
          <pc:docMk/>
          <pc:sldMk cId="4226551307" sldId="2147483490"/>
        </pc:sldMkLst>
        <pc:graphicFrameChg chg="del mod modVis">
          <ac:chgData name="Jain, Rohit" userId="d730cf42-8c70-45f1-8cf9-0acd8eccdde5" providerId="ADAL" clId="{5B2702BD-32A1-4AEE-A610-D110B47AECF1}" dt="2024-07-30T19:42:47.954" v="18" actId="478"/>
          <ac:graphicFrameMkLst>
            <pc:docMk/>
            <pc:sldMk cId="4226551307" sldId="2147483490"/>
            <ac:graphicFrameMk id="5" creationId="{EFFA4340-9812-E103-AFE5-D8146CC77C67}"/>
          </ac:graphicFrameMkLst>
        </pc:graphicFrameChg>
      </pc:sldChg>
      <pc:sldChg chg="delSp modSp mod">
        <pc:chgData name="Jain, Rohit" userId="d730cf42-8c70-45f1-8cf9-0acd8eccdde5" providerId="ADAL" clId="{5B2702BD-32A1-4AEE-A610-D110B47AECF1}" dt="2024-07-30T19:42:59.001" v="22" actId="478"/>
        <pc:sldMkLst>
          <pc:docMk/>
          <pc:sldMk cId="4055177740" sldId="2147483494"/>
        </pc:sldMkLst>
        <pc:graphicFrameChg chg="del mod modVis">
          <ac:chgData name="Jain, Rohit" userId="d730cf42-8c70-45f1-8cf9-0acd8eccdde5" providerId="ADAL" clId="{5B2702BD-32A1-4AEE-A610-D110B47AECF1}" dt="2024-07-30T19:42:59.001" v="22" actId="478"/>
          <ac:graphicFrameMkLst>
            <pc:docMk/>
            <pc:sldMk cId="4055177740" sldId="2147483494"/>
            <ac:graphicFrameMk id="3" creationId="{D83FCD18-8042-43C1-92DE-D4AE276EBD08}"/>
          </ac:graphicFrameMkLst>
        </pc:graphicFrameChg>
      </pc:sldChg>
      <pc:sldChg chg="delSp modSp mod">
        <pc:chgData name="Jain, Rohit" userId="d730cf42-8c70-45f1-8cf9-0acd8eccdde5" providerId="ADAL" clId="{5B2702BD-32A1-4AEE-A610-D110B47AECF1}" dt="2024-07-30T19:43:03.902" v="24" actId="478"/>
        <pc:sldMkLst>
          <pc:docMk/>
          <pc:sldMk cId="2797499301" sldId="2147483496"/>
        </pc:sldMkLst>
        <pc:graphicFrameChg chg="del mod modVis">
          <ac:chgData name="Jain, Rohit" userId="d730cf42-8c70-45f1-8cf9-0acd8eccdde5" providerId="ADAL" clId="{5B2702BD-32A1-4AEE-A610-D110B47AECF1}" dt="2024-07-30T19:43:03.902" v="24" actId="478"/>
          <ac:graphicFrameMkLst>
            <pc:docMk/>
            <pc:sldMk cId="2797499301" sldId="2147483496"/>
            <ac:graphicFrameMk id="3" creationId="{D83FCD18-8042-43C1-92DE-D4AE276EBD08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3980F-B8C2-4587-A776-E4E2571EE93A}" type="datetimeFigureOut">
              <a:rPr lang="en-US" smtClean="0"/>
              <a:t>8/12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08A42C-AD86-49C3-A40D-3049056A85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7444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png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43.emf"/><Relationship Id="rId4" Type="http://schemas.openxmlformats.org/officeDocument/2006/relationships/oleObject" Target="../embeddings/oleObject10.bin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44.emf"/><Relationship Id="rId4" Type="http://schemas.openxmlformats.org/officeDocument/2006/relationships/oleObject" Target="../embeddings/oleObject11.bin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45.emf"/><Relationship Id="rId4" Type="http://schemas.openxmlformats.org/officeDocument/2006/relationships/oleObject" Target="../embeddings/oleObject12.bin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video" Target="../media/media1.mp4"/><Relationship Id="rId7" Type="http://schemas.openxmlformats.org/officeDocument/2006/relationships/image" Target="../media/image10.png"/><Relationship Id="rId2" Type="http://schemas.microsoft.com/office/2007/relationships/media" Target="../media/media1.mp4"/><Relationship Id="rId1" Type="http://schemas.openxmlformats.org/officeDocument/2006/relationships/tags" Target="../tags/tag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7.png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pn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png"/><Relationship Id="rId4" Type="http://schemas.openxmlformats.org/officeDocument/2006/relationships/image" Target="../media/image9.png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svg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29.emf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3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8.png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43.emf"/><Relationship Id="rId4" Type="http://schemas.openxmlformats.org/officeDocument/2006/relationships/oleObject" Target="../embeddings/oleObject20.bin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44.emf"/><Relationship Id="rId4" Type="http://schemas.openxmlformats.org/officeDocument/2006/relationships/oleObject" Target="../embeddings/oleObject21.bin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45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5.svg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7.png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7.png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17.sv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0.svg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2.svg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2.svg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2.svg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0.svg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2.svg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2.svg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2.svg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8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9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0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.xml"/><Relationship Id="rId5" Type="http://schemas.openxmlformats.org/officeDocument/2006/relationships/image" Target="../media/image31.png"/><Relationship Id="rId4" Type="http://schemas.openxmlformats.org/officeDocument/2006/relationships/image" Target="../media/image46.emf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2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3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4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67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9.emf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0.svg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0.svg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0.svg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0.svg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2.svg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2.svg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2.svg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0.svg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7.png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7" Type="http://schemas.openxmlformats.org/officeDocument/2006/relationships/image" Target="../media/image50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5.xml"/><Relationship Id="rId6" Type="http://schemas.openxmlformats.org/officeDocument/2006/relationships/image" Target="../media/image49.png"/><Relationship Id="rId5" Type="http://schemas.openxmlformats.org/officeDocument/2006/relationships/image" Target="../media/image31.png"/><Relationship Id="rId4" Type="http://schemas.openxmlformats.org/officeDocument/2006/relationships/image" Target="../media/image46.emf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6.xml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5.svg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7.png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7.png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17.svg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0.svg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8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67.jpeg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0.svg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0.svg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0.svg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0.svg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0.sv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7.png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0.svg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45.emf"/><Relationship Id="rId4" Type="http://schemas.openxmlformats.org/officeDocument/2006/relationships/oleObject" Target="../embeddings/oleObject52.bin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image" Target="../media/image44.emf"/><Relationship Id="rId4" Type="http://schemas.openxmlformats.org/officeDocument/2006/relationships/oleObject" Target="../embeddings/oleObject53.bin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44.emf"/><Relationship Id="rId4" Type="http://schemas.openxmlformats.org/officeDocument/2006/relationships/oleObject" Target="../embeddings/oleObject54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55.bin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56.bin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45.emf"/><Relationship Id="rId4" Type="http://schemas.openxmlformats.org/officeDocument/2006/relationships/oleObject" Target="../embeddings/oleObject57.bin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71.png"/><Relationship Id="rId5" Type="http://schemas.openxmlformats.org/officeDocument/2006/relationships/image" Target="../media/image70.emf"/><Relationship Id="rId4" Type="http://schemas.openxmlformats.org/officeDocument/2006/relationships/oleObject" Target="../embeddings/oleObject58.bin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59.bin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image" Target="../media/image44.emf"/><Relationship Id="rId4" Type="http://schemas.openxmlformats.org/officeDocument/2006/relationships/oleObject" Target="../embeddings/oleObject60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5.svg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7.png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7.png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17.svg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0.svg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0.svg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video" Target="../media/media1.mp4"/><Relationship Id="rId7" Type="http://schemas.openxmlformats.org/officeDocument/2006/relationships/image" Target="../media/image10.png"/><Relationship Id="rId2" Type="http://schemas.microsoft.com/office/2007/relationships/media" Target="../media/media1.mp4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67.jpeg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0.svg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0.svg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0.svg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0.svg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0.svg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7.png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0.svg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7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7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7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7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7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7.xml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7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7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7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5.png"/><Relationship Id="rId4" Type="http://schemas.openxmlformats.org/officeDocument/2006/relationships/image" Target="../media/image9.png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9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0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1.xml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2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3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4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5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6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7.xml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8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9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0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1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2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3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4.xml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5.xml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6.xml"/><Relationship Id="rId4" Type="http://schemas.openxmlformats.org/officeDocument/2006/relationships/image" Target="../media/image29.emf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8.png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png"/><Relationship Id="rId4" Type="http://schemas.openxmlformats.org/officeDocument/2006/relationships/image" Target="../media/image9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video" Target="../media/media1.mp4"/><Relationship Id="rId7" Type="http://schemas.openxmlformats.org/officeDocument/2006/relationships/image" Target="../media/image10.png"/><Relationship Id="rId2" Type="http://schemas.microsoft.com/office/2007/relationships/media" Target="../media/media1.mp4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9.png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svg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29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29.emf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Illustrati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B980B98-A2F2-104F-B1F3-4969CC3C5A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54240" y="2776810"/>
            <a:ext cx="4431429" cy="329931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/>
        </p:nvSpPr>
        <p:spPr>
          <a:xfrm>
            <a:off x="11490848" y="6587710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134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FAEF6FF-624F-F941-8333-F016E751BE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E27E99B-5241-0942-B27C-8DC37A0E3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8F6A2D3-237C-B142-BB6C-D1D674B692C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55DD0A7-9B3F-B445-B3E3-DCBA18FD6920}"/>
              </a:ext>
            </a:extLst>
          </p:cNvPr>
          <p:cNvSpPr txBox="1"/>
          <p:nvPr/>
        </p:nvSpPr>
        <p:spPr>
          <a:xfrm>
            <a:off x="11377693" y="6577436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386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6863A02-5AA9-0045-86B9-CB65111A28F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5B523E-6B9A-3E4C-A8C8-39C38CC0B143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250640" y="1600200"/>
            <a:ext cx="5331759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348177B1-77DF-0E4E-A6DB-F730917346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CA431A8-80BE-3346-AEA4-3FE5EF0F87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D624208-192E-BD42-8C2C-D3FC7AB00F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C0911FF-6A58-4AC3-BA4B-74146AFF60A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889C50-093C-44CD-9F44-6167FE8E94F6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819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1EF644C3-BD07-6F42-99C3-8410727AAF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2643202"/>
            <a:ext cx="5283200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CDC8C9A-A5A1-DC44-9C5A-22CFBA39C58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48400" y="2643202"/>
            <a:ext cx="5334003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ED0B6DA-B1AD-8E4B-8D28-00B2D6352F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5283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2A5599-054E-9A4C-941D-DEAF685255BE}"/>
              </a:ext>
            </a:extLst>
          </p:cNvPr>
          <p:cNvCxnSpPr>
            <a:cxnSpLocks/>
          </p:cNvCxnSpPr>
          <p:nvPr/>
        </p:nvCxnSpPr>
        <p:spPr>
          <a:xfrm>
            <a:off x="609601" y="2521444"/>
            <a:ext cx="5306479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3914B0B-B3F6-A24C-B306-C2DE3CCFF8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48400" y="1567214"/>
            <a:ext cx="53340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E64FE3A-369E-0945-9952-79DE2D0CB498}"/>
              </a:ext>
            </a:extLst>
          </p:cNvPr>
          <p:cNvCxnSpPr>
            <a:cxnSpLocks/>
          </p:cNvCxnSpPr>
          <p:nvPr/>
        </p:nvCxnSpPr>
        <p:spPr>
          <a:xfrm>
            <a:off x="6248400" y="2521444"/>
            <a:ext cx="53340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687A00C-C9A6-DD42-9977-99993E7D4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6398BA2-811F-1C41-BC08-078B116D4ED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28E9757-427C-C249-9F47-223DCD7BF1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5C6B76-F1B3-4070-9AD9-721B1B3B1DD5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467C840-0571-4C02-AAFA-CE700D8B267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3814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1207722-B163-475D-B601-1EA08B6AAA4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67100" y="1600200"/>
            <a:ext cx="81153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894B221-FC17-F343-84FB-9C6A7B7059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25146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157C6BA9-A888-C046-9D14-AD47E7120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6561AB5-5D81-0845-909C-25323AA17C5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1E59CE0-76E6-D84F-9E45-E33A3094777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70EE53B-2173-45C7-95D3-A8EF5A8655B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30520A-BC26-4AF2-B7EF-CC50B7B9D86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7605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184">
          <p15:clr>
            <a:srgbClr val="FBAE40"/>
          </p15:clr>
        </p15:guide>
        <p15:guide id="9" pos="1968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97E3760-1BB7-4A60-8487-48CE1416C62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B38E0FE-FC45-D24E-BA98-E5CF5EA47103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026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DB9E50E-54A6-D849-A7F6-8093341C8184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81872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059B729-C6AE-024A-A0B1-CCF305824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E35142D-D790-6240-9E1C-1A74471BC44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6E9EADE-B7E9-1548-BE93-F92FE33A9CC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F424B3-9043-41D5-BB73-D95ECFBE8A5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50AC662-696C-417C-B404-73EAB33987A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3" name="Rectangle 82">
            <a:extLst>
              <a:ext uri="{FF2B5EF4-FFF2-40B4-BE49-F238E27FC236}">
                <a16:creationId xmlns:a16="http://schemas.microsoft.com/office/drawing/2014/main" id="{B4D8DFF6-CA16-A477-8E82-075E1683BFB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A2A2D62-913E-4AAA-C059-E804BF80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122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4092CC5-4CE4-F14D-84E5-84942B23A7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339236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7756ABC-9266-214C-9F7B-E75E6FFA4963}"/>
              </a:ext>
            </a:extLst>
          </p:cNvPr>
          <p:cNvCxnSpPr>
            <a:cxnSpLocks/>
          </p:cNvCxnSpPr>
          <p:nvPr/>
        </p:nvCxnSpPr>
        <p:spPr>
          <a:xfrm>
            <a:off x="609601" y="2521444"/>
            <a:ext cx="3407308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9A161FA-C7FD-E645-A03F-D02DE0C8B2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19600" y="1567214"/>
            <a:ext cx="33528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9FB75EC-FDA1-D748-BDFC-0A34683F849E}"/>
              </a:ext>
            </a:extLst>
          </p:cNvPr>
          <p:cNvCxnSpPr>
            <a:cxnSpLocks/>
          </p:cNvCxnSpPr>
          <p:nvPr/>
        </p:nvCxnSpPr>
        <p:spPr>
          <a:xfrm>
            <a:off x="4419600" y="2521444"/>
            <a:ext cx="33528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30E2CEF-CCAC-CA4D-933F-027385DC49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78800" y="1567214"/>
            <a:ext cx="34036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6A0D02F-EE42-5B4C-BE0F-181D414229C6}"/>
              </a:ext>
            </a:extLst>
          </p:cNvPr>
          <p:cNvCxnSpPr>
            <a:cxnSpLocks/>
          </p:cNvCxnSpPr>
          <p:nvPr/>
        </p:nvCxnSpPr>
        <p:spPr>
          <a:xfrm>
            <a:off x="8178800" y="2521444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E976D561-61ED-9B4A-B630-6E037061A8DD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12104" y="2628900"/>
            <a:ext cx="33527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BEE0402C-E2BF-DB44-AB66-828DA835BF0F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13310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2B04388-6E13-7143-8DB6-9C4E843A0AB8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8184004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318BDE0-5FD0-8D41-B77E-3DF3B75DE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1D12C16-1BB5-BC4F-B6F8-46FB22666D5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32ADFB7F-C7B5-A141-A05E-65D8E762C31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6F590C6-4DDD-48C4-A0F5-A86A02C9241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606489D-F18B-49E7-A430-AF0A802226B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054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165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13DA727-D0B5-5748-84C2-5C350C1088DF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1600200"/>
            <a:ext cx="2489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EA5DA42-0A63-7149-B091-08D10F848F2E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1600200"/>
            <a:ext cx="2432423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ACB33F5F-6A95-C141-A4CB-F1354D41AD3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8CF80BC6-09DE-3740-8861-1869483A0ECD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41518C0-F58C-DA41-8B70-42DC6B9B5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93602B9-7F9B-AE4E-9BAF-34FC72E3CBF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95869B9-14BA-E94B-BFB4-EEEE6C185E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3B37F05-0F07-4AC7-AB0A-840C29CFAD7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F8EB945-89E4-4F5C-AABF-2F9F526C155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25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70B93C1-A913-6949-9E7A-C612BA63F6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66616FA-1027-5A4A-AC2C-E2DC86D90196}"/>
              </a:ext>
            </a:extLst>
          </p:cNvPr>
          <p:cNvCxnSpPr>
            <a:cxnSpLocks/>
          </p:cNvCxnSpPr>
          <p:nvPr/>
        </p:nvCxnSpPr>
        <p:spPr>
          <a:xfrm>
            <a:off x="6096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5070E2-249F-2E41-8903-2C611249DB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EB18407-6858-9A4B-92C4-92013BAEACC6}"/>
              </a:ext>
            </a:extLst>
          </p:cNvPr>
          <p:cNvCxnSpPr>
            <a:cxnSpLocks/>
          </p:cNvCxnSpPr>
          <p:nvPr/>
        </p:nvCxnSpPr>
        <p:spPr>
          <a:xfrm>
            <a:off x="3454400" y="2521444"/>
            <a:ext cx="24384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A618BCB-5657-E640-B496-300C09D2BD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3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2571815-7AC9-4A48-8176-16337A1C25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8CA6EDF-309F-9C43-88A2-C720D2079C09}"/>
              </a:ext>
            </a:extLst>
          </p:cNvPr>
          <p:cNvCxnSpPr>
            <a:cxnSpLocks/>
          </p:cNvCxnSpPr>
          <p:nvPr/>
        </p:nvCxnSpPr>
        <p:spPr>
          <a:xfrm>
            <a:off x="90932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F0A98B5-2885-FC4B-8E93-11E6853D6063}"/>
              </a:ext>
            </a:extLst>
          </p:cNvPr>
          <p:cNvCxnSpPr>
            <a:cxnSpLocks/>
          </p:cNvCxnSpPr>
          <p:nvPr/>
        </p:nvCxnSpPr>
        <p:spPr>
          <a:xfrm>
            <a:off x="6248403" y="2521444"/>
            <a:ext cx="2489197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1631775-8D64-4341-A917-ACCA02A442D2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2628900"/>
            <a:ext cx="2489200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4E99E6E9-2494-B940-B1EF-092C3EADC772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2628900"/>
            <a:ext cx="2432423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819DCF24-1964-3644-9168-FF49E2A566D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CF5FC023-DCB7-9848-9776-BCD9A603067E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8EC50DE8-D067-984E-9012-11FC27E62E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7D501EE-A03D-D64F-A115-5ECD03AA3F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D59275F-6240-2347-801C-D9B63A23481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CF193E4-ADC4-4233-AEA9-ABE6800A232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5A837DC-6429-46C6-A734-03312F3E3B0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3835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0659210-753C-4957-8F25-A4D709FAB681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28DF06C-CFDC-2447-B7D4-E75EC0431F79}"/>
              </a:ext>
            </a:extLst>
          </p:cNvPr>
          <p:cNvCxnSpPr>
            <a:cxnSpLocks/>
          </p:cNvCxnSpPr>
          <p:nvPr/>
        </p:nvCxnSpPr>
        <p:spPr>
          <a:xfrm>
            <a:off x="60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F1E348A8-D8AD-8342-95C4-1E731B229D5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636295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BE5757E-813A-8F48-9A5A-EEC1071594D2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45273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7" name="Picture Placeholder 2">
            <a:extLst>
              <a:ext uri="{FF2B5EF4-FFF2-40B4-BE49-F238E27FC236}">
                <a16:creationId xmlns:a16="http://schemas.microsoft.com/office/drawing/2014/main" id="{95C65A02-D19F-294F-BC73-89CD66DB23DC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269171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0C183E4-86E4-6940-9A6D-E9DE7740EFA7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13310" y="3379809"/>
            <a:ext cx="340359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3ECD2BF-4248-F14F-AB63-732DFF2D5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8DA343F-1525-584F-88BA-86B0FE83B43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EE7EA97-253E-FB40-B94E-BE9389B08B5F}"/>
              </a:ext>
            </a:extLst>
          </p:cNvPr>
          <p:cNvCxnSpPr>
            <a:cxnSpLocks/>
          </p:cNvCxnSpPr>
          <p:nvPr/>
        </p:nvCxnSpPr>
        <p:spPr>
          <a:xfrm>
            <a:off x="441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BE90A3C5-FAC6-4A4A-B289-095811B7B144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423311" y="3379809"/>
            <a:ext cx="3349090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A926BB4-EEF2-5A49-844D-B93A3BB53E82}"/>
              </a:ext>
            </a:extLst>
          </p:cNvPr>
          <p:cNvCxnSpPr>
            <a:cxnSpLocks/>
          </p:cNvCxnSpPr>
          <p:nvPr/>
        </p:nvCxnSpPr>
        <p:spPr>
          <a:xfrm>
            <a:off x="81915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B46288C4-4A89-B443-8199-6DBD23F67C2B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8195210" y="3379809"/>
            <a:ext cx="339988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8D0F15B-D16C-1944-9EC2-DED14D92BDA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2BE0D9F-95D1-4003-A390-8D48D1D3680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FD9C543-41B1-4AA5-9309-C44DBC35EA1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227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204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89BE8A8-1D24-0141-85A7-333554C30119}"/>
              </a:ext>
            </a:extLst>
          </p:cNvPr>
          <p:cNvCxnSpPr>
            <a:cxnSpLocks/>
          </p:cNvCxnSpPr>
          <p:nvPr/>
        </p:nvCxnSpPr>
        <p:spPr>
          <a:xfrm>
            <a:off x="609600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A0458D0-DECB-7844-94C6-EFB2F9402D5A}"/>
              </a:ext>
            </a:extLst>
          </p:cNvPr>
          <p:cNvCxnSpPr>
            <a:cxnSpLocks/>
          </p:cNvCxnSpPr>
          <p:nvPr/>
        </p:nvCxnSpPr>
        <p:spPr>
          <a:xfrm>
            <a:off x="3453977" y="3242438"/>
            <a:ext cx="244368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48E85A-F259-CF49-BE34-708227EC6828}"/>
              </a:ext>
            </a:extLst>
          </p:cNvPr>
          <p:cNvCxnSpPr>
            <a:cxnSpLocks/>
          </p:cNvCxnSpPr>
          <p:nvPr/>
        </p:nvCxnSpPr>
        <p:spPr>
          <a:xfrm>
            <a:off x="6257308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8AC0041-3EAA-134B-978F-4B02C0FF045F}"/>
              </a:ext>
            </a:extLst>
          </p:cNvPr>
          <p:cNvCxnSpPr>
            <a:cxnSpLocks/>
          </p:cNvCxnSpPr>
          <p:nvPr/>
        </p:nvCxnSpPr>
        <p:spPr>
          <a:xfrm>
            <a:off x="9097177" y="3242438"/>
            <a:ext cx="2489201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390D2F0-3AD5-4F47-A10B-E047B365B1A9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3391762"/>
            <a:ext cx="2489200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0399C588-DBAD-2742-B89F-D479F30059DC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3391762"/>
            <a:ext cx="2432423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CB9B4B18-23D4-6E42-8831-4A20A413C64A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7B833A7B-9585-DC41-B130-684A63887C7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9087971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CAA2DFC-CB9D-694C-955F-30EA6BD3C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E065487-BF64-9342-A721-6A8BA2B8CF6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C0303739-0C13-CC4B-8202-FEEEAAB3C12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244600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BC6978E9-423F-9244-9FF8-DCD46EBA565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07379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48D3479E-1D17-DF4D-840E-0E14AA554B7C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902984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95A82027-A669-A245-99A2-2D77B7D1A97E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732177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3DE5F9E-3746-BC42-92AB-FEDCED42D71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DEAD3E0-81AC-41A7-B02C-F7C8E3C276C5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4CA7DE8-127A-4C0C-867D-2DAABF999D8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630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04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92D46C0-E581-4328-BA0D-DC338A15645F}"/>
              </a:ext>
            </a:extLst>
          </p:cNvPr>
          <p:cNvSpPr/>
          <p:nvPr/>
        </p:nvSpPr>
        <p:spPr>
          <a:xfrm>
            <a:off x="-1" y="0"/>
            <a:ext cx="755620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455917-5D69-4B31-B459-CEA3616D55C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C4B767-72FE-4F41-A667-B94ACBB19DB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31B887E-1D14-B443-ACD5-1A404FA009A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842643-0001-43A1-8A1D-935AC13EF9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401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 - VBM+Symb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653EF4D2-FA1F-824F-9159-013422D09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accent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D0E9125-603C-FE4B-9FE5-B2CDA2CFBD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75FF374-CE84-874F-AD2F-DEC1ADE14B1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DE4A174-513B-AF43-8972-1BF7BACDE2E4}"/>
              </a:ext>
            </a:extLst>
          </p:cNvPr>
          <p:cNvSpPr txBox="1"/>
          <p:nvPr/>
        </p:nvSpPr>
        <p:spPr>
          <a:xfrm>
            <a:off x="11449612" y="6597984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533885-FB97-4BC6-993A-9DC5563047FB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934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Yellow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37E9115E-63DF-4133-A626-4F14A7DBBDDE}"/>
              </a:ext>
            </a:extLst>
          </p:cNvPr>
          <p:cNvSpPr/>
          <p:nvPr/>
        </p:nvSpPr>
        <p:spPr>
          <a:xfrm>
            <a:off x="0" y="0"/>
            <a:ext cx="181722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455917-5D69-4B31-B459-CEA3616D55C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C4B767-72FE-4F41-A667-B94ACBB19DB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634F3A4-2E2A-344D-B907-C0C95A55CA6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5FB4FCC-3325-C845-9B15-E71FF67E5B1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409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457200"/>
            <a:ext cx="5334000" cy="5753100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A3EE50D-9DEA-9149-9049-FE0CE78B8409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6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507D2AF-B968-8540-AB96-D7091A82A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6C401AA-42D6-3744-80D1-D2B7F64C7D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A396B81-A8CC-6A49-B843-D30A7CDAE7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139E18C-9244-4F8E-8874-0A704B4D19F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48614B-99AB-4109-AE47-2860B4C761C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282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09600" y="1600201"/>
            <a:ext cx="5283200" cy="3145055"/>
          </a:xfrm>
          <a:solidFill>
            <a:schemeClr val="tx2"/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656EAC5-6B5F-4341-86FF-B7369C9AD23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258044" y="1600201"/>
            <a:ext cx="53340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AFFEF14-326C-4366-BE6C-30F2EAEF06F4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FCD28B-5132-4352-9BA2-B2C48B333EB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0" y="4911693"/>
            <a:ext cx="5283200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C7F8A7A-3661-4A31-988A-37E7A64D4614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13355B2A-3761-9B4A-A6CC-D82F751C5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9978769-6475-654F-8177-443C3A323D9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6CC2593-E020-1C41-B3F8-AD259BDD41F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58044" y="4911693"/>
            <a:ext cx="5324355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2626E75-A294-2F49-9D2A-F258BBC50F5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C109CE-3B47-410F-91BB-711F45926B4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5D53B0-AEE2-473F-B917-B8042CA583E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770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309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E527502-AB0B-EA4C-93C1-E50D3BB46A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09600" y="1600201"/>
            <a:ext cx="34036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6B953B14-58B5-F64D-856E-665137C4F44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429455" y="1600201"/>
            <a:ext cx="3352801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D14F8D7C-7F6F-6143-9DE4-868B2E38A178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178797" y="1600201"/>
            <a:ext cx="3403603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472EF8D-56BE-AB48-A5F9-187114E95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5C8DF82-7F60-4849-A43B-8F4B9B5F0CA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CDCA026-D514-4D4B-AB98-08252DB87D8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09600" y="4911693"/>
            <a:ext cx="3423314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DF9BFF8-0532-EE45-9739-4B50F601F77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429245" y="4911693"/>
            <a:ext cx="3343155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82BB9B5-C539-B147-9A3E-C09EB047C38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91017" y="4911693"/>
            <a:ext cx="3403603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301442EF-174F-7C4C-948C-81FD2937D96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860610A-3A2F-41F6-A572-17E0B5918ED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B1B5DF1-398E-4039-9FEB-B800C1345BAB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837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Tw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56BCCFD-B912-2F49-AE52-7814FFDCB534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832065A-C6D7-614D-A733-535BCA5ADF1B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8"/>
            <a:ext cx="5334000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7C7B404-7F93-AD4C-BE41-E5247D351B57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248399" y="471458"/>
            <a:ext cx="5334001" cy="273196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A5108AEE-9096-4643-8AFA-8EFF143BF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7962758-65CF-1D46-ADE8-60345727EDE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62937F0-7412-EA41-B511-EA81EB0FE83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1CFCE6-4389-4631-971B-C5551A0173C9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B961A7C-FF07-4129-BD07-6DC2F260A1D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0139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Thre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90AF7A3C-BA0F-9B49-B1B5-D713C19139C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2"/>
            <a:ext cx="5346192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61755EBA-80EC-6B4F-B350-DC2DD71209FC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455C0536-27A6-644D-8348-9541070F401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248400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B3F5BBC4-47E5-1E46-9E4F-B0D0BB7BAB04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001094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38045DB-4C64-CE4D-B8E5-9949681D1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B569F93-B18A-C246-94EF-34A7D4EDD94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42BCFDB-7549-A74E-9341-258E6AB17A0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4E2A106-4F39-4E97-BFB5-DFFCCB4056E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40BDDF-AEFD-4BE1-9247-7302A27E82D6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581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248400" y="3308593"/>
            <a:ext cx="5346192" cy="2726853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A2E6023-8A40-1E44-BD81-EED366C96875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001094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65C3A6A-0967-1E4F-8831-6EA71CD06F5D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09600" y="1081613"/>
            <a:ext cx="5486399" cy="495382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1FAB2697-2712-FE45-8DA0-EF63106E2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69977AA-16BB-0C4F-A664-D6686D72F1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2E3B1F5-C5F5-B945-9146-E3FE66ADCC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2CA8F6-DF4D-4772-AB33-EC493EEF4B9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988813-B187-455D-85DF-CBB5882CF1AA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582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pos="384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031890" y="-10673"/>
            <a:ext cx="4160109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FBB367A8-8DCC-6847-8D30-74516D9E043C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031889" y="2390327"/>
            <a:ext cx="4160111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32A0B33A-CF8B-1947-ACB2-AB69665D80A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-1" y="1380745"/>
            <a:ext cx="7303008" cy="5477257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FDD1D1A5-5D9F-764D-A02B-21CB1442F7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FF61E78-AFFB-F44B-BFDB-C2B5875FA03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7BB4FD-6BC9-4C9C-8922-DD575DD56B1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7A549D4-3018-4CAF-B7B1-806723A2E4F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32D6F3F-2B06-47D0-B011-DEE222649B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382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59DC62E-7380-5A49-8746-53EFA12DC6E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1" y="1600201"/>
            <a:ext cx="2946400" cy="3619500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3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300"/>
              </a:spcBef>
              <a:defRPr sz="1400"/>
            </a:lvl3pPr>
            <a:lvl4pPr>
              <a:lnSpc>
                <a:spcPct val="100000"/>
              </a:lnSpc>
              <a:spcBef>
                <a:spcPts val="3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3CFF718-B5F0-3D45-A03C-81D5E2147CD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973689" y="2816352"/>
            <a:ext cx="7608711" cy="3124200"/>
          </a:xfrm>
        </p:spPr>
        <p:txBody>
          <a:bodyPr wrap="square" anchor="b" anchorCtr="0"/>
          <a:lstStyle>
            <a:lvl1pPr algn="r">
              <a:lnSpc>
                <a:spcPts val="18500"/>
              </a:lnSpc>
              <a:spcBef>
                <a:spcPts val="0"/>
              </a:spcBef>
              <a:defRPr sz="25000" b="0" i="0" kern="0" spc="-1000" baseline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952DD641-DB3B-6F45-8A70-05A69559D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747253A-0C59-CE4B-BC84-E5D8D706360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6FCD28A-7F94-9C4F-A31C-BF109312526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4437C85-71C1-4965-98AA-AB322A645B0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D4069C1-CB70-47E8-BE89-934AD89EEC3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256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496">
          <p15:clr>
            <a:srgbClr val="FBAE40"/>
          </p15:clr>
        </p15:guide>
        <p15:guide id="9" pos="2240">
          <p15:clr>
            <a:srgbClr val="FBAE40"/>
          </p15:clr>
        </p15:guide>
        <p15:guide id="10" orient="horz" pos="3288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600201"/>
            <a:ext cx="5283200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7D909CE-D30F-4445-9B83-FD490780AD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" y="4745032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E55C82F-13DC-204D-866F-573A53A30E3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8400" y="4739396"/>
            <a:ext cx="53340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600201"/>
            <a:ext cx="5328355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75B0F87-EFC2-B148-AC62-E7EDC82B6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F63A11A-E0DC-C441-8C0C-0C92B7CC32E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AAE6A4A-48A8-1C40-A6AE-398355A5309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AAA50A3-83EF-4952-8632-FFE353522B47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A21BB5-F73D-4D3A-9933-F159EB15525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568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B023C5D-F5CC-44FA-834F-43851B9A10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43EE40-5826-477B-BEEF-B50E81BADC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3463FD-6F8E-41D2-B867-102704C5E9FC}"/>
              </a:ext>
            </a:extLst>
          </p:cNvPr>
          <p:cNvCxnSpPr>
            <a:cxnSpLocks/>
          </p:cNvCxnSpPr>
          <p:nvPr/>
        </p:nvCxnSpPr>
        <p:spPr>
          <a:xfrm>
            <a:off x="6096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843B257-7F12-4633-9525-3B6D2C5C29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884D96D-3DE4-40B0-90D8-B5918CF1D0E8}"/>
              </a:ext>
            </a:extLst>
          </p:cNvPr>
          <p:cNvCxnSpPr>
            <a:cxnSpLocks/>
          </p:cNvCxnSpPr>
          <p:nvPr/>
        </p:nvCxnSpPr>
        <p:spPr>
          <a:xfrm>
            <a:off x="3454400" y="2521444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5176D7D-6355-4FF3-9137-FC5B3D8B65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5426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7B4ED28-009B-4D27-8603-E737D3353D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2F40EFA-7CFE-412F-9670-84A0FD0AAAD2}"/>
              </a:ext>
            </a:extLst>
          </p:cNvPr>
          <p:cNvCxnSpPr>
            <a:cxnSpLocks/>
          </p:cNvCxnSpPr>
          <p:nvPr/>
        </p:nvCxnSpPr>
        <p:spPr>
          <a:xfrm>
            <a:off x="90932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0EAEBC3-D403-4863-B94C-5BA28D11A2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0BF9787-757D-4D4A-9D39-36E4F20150F8}"/>
              </a:ext>
            </a:extLst>
          </p:cNvPr>
          <p:cNvCxnSpPr>
            <a:cxnSpLocks/>
          </p:cNvCxnSpPr>
          <p:nvPr/>
        </p:nvCxnSpPr>
        <p:spPr>
          <a:xfrm>
            <a:off x="6096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39AED03-861E-49F5-9486-9875D7F325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54400" y="3962591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6A4D639-35EE-4A75-9D5D-F5D68D810241}"/>
              </a:ext>
            </a:extLst>
          </p:cNvPr>
          <p:cNvCxnSpPr>
            <a:cxnSpLocks/>
          </p:cNvCxnSpPr>
          <p:nvPr/>
        </p:nvCxnSpPr>
        <p:spPr>
          <a:xfrm>
            <a:off x="3454400" y="4916821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191B399-15E8-4E18-95CE-9D88E07F66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5423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9BE4E74-7BEC-498B-AB83-0C7C20ED890A}"/>
              </a:ext>
            </a:extLst>
          </p:cNvPr>
          <p:cNvCxnSpPr>
            <a:cxnSpLocks/>
          </p:cNvCxnSpPr>
          <p:nvPr/>
        </p:nvCxnSpPr>
        <p:spPr>
          <a:xfrm>
            <a:off x="6295423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92CC6EC-3B35-4B15-8ECF-71827B4F797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932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A28FED9-B6B8-4348-BFC2-E292A6FB0FCF}"/>
              </a:ext>
            </a:extLst>
          </p:cNvPr>
          <p:cNvCxnSpPr>
            <a:cxnSpLocks/>
          </p:cNvCxnSpPr>
          <p:nvPr/>
        </p:nvCxnSpPr>
        <p:spPr>
          <a:xfrm>
            <a:off x="90932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Content Placeholder 2">
            <a:extLst>
              <a:ext uri="{FF2B5EF4-FFF2-40B4-BE49-F238E27FC236}">
                <a16:creationId xmlns:a16="http://schemas.microsoft.com/office/drawing/2014/main" id="{11899807-858E-4003-8BDF-4015E542845B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609600" y="2643202"/>
            <a:ext cx="247828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6" name="Content Placeholder 2">
            <a:extLst>
              <a:ext uri="{FF2B5EF4-FFF2-40B4-BE49-F238E27FC236}">
                <a16:creationId xmlns:a16="http://schemas.microsoft.com/office/drawing/2014/main" id="{8713D4C8-925C-4E15-9DF9-AB425817C32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454400" y="2643208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7" name="Content Placeholder 2">
            <a:extLst>
              <a:ext uri="{FF2B5EF4-FFF2-40B4-BE49-F238E27FC236}">
                <a16:creationId xmlns:a16="http://schemas.microsoft.com/office/drawing/2014/main" id="{7EDB3C1E-C224-4411-B608-25ABA2658B70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6295426" y="2643202"/>
            <a:ext cx="2489197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8" name="Content Placeholder 2">
            <a:extLst>
              <a:ext uri="{FF2B5EF4-FFF2-40B4-BE49-F238E27FC236}">
                <a16:creationId xmlns:a16="http://schemas.microsoft.com/office/drawing/2014/main" id="{601DD3FF-8D08-49F7-97A5-81CD5390891E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9093200" y="2643202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9" name="Content Placeholder 2">
            <a:extLst>
              <a:ext uri="{FF2B5EF4-FFF2-40B4-BE49-F238E27FC236}">
                <a16:creationId xmlns:a16="http://schemas.microsoft.com/office/drawing/2014/main" id="{E6F0E1CC-E3A5-476C-B9BD-8E55B73C912E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09600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Content Placeholder 2">
            <a:extLst>
              <a:ext uri="{FF2B5EF4-FFF2-40B4-BE49-F238E27FC236}">
                <a16:creationId xmlns:a16="http://schemas.microsoft.com/office/drawing/2014/main" id="{6CA859C0-8CC8-4AD9-A9BC-64F1FC91D711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454400" y="5024160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1" name="Content Placeholder 2">
            <a:extLst>
              <a:ext uri="{FF2B5EF4-FFF2-40B4-BE49-F238E27FC236}">
                <a16:creationId xmlns:a16="http://schemas.microsoft.com/office/drawing/2014/main" id="{BBD7B664-2D47-45FC-8170-499D24E52CD3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6295423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2" name="Content Placeholder 2">
            <a:extLst>
              <a:ext uri="{FF2B5EF4-FFF2-40B4-BE49-F238E27FC236}">
                <a16:creationId xmlns:a16="http://schemas.microsoft.com/office/drawing/2014/main" id="{7C76208B-5543-46CF-A9E2-FACFA2214379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9089423" y="5007399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1B229B7-1E51-4DB5-8A87-EA006CA75597}"/>
              </a:ext>
            </a:extLst>
          </p:cNvPr>
          <p:cNvCxnSpPr>
            <a:cxnSpLocks/>
          </p:cNvCxnSpPr>
          <p:nvPr/>
        </p:nvCxnSpPr>
        <p:spPr>
          <a:xfrm>
            <a:off x="6295426" y="2521444"/>
            <a:ext cx="248919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29ACA210-CD82-4973-86C5-C81EDE5EA833}"/>
              </a:ext>
            </a:extLst>
          </p:cNvPr>
          <p:cNvSpPr txBox="1"/>
          <p:nvPr/>
        </p:nvSpPr>
        <p:spPr>
          <a:xfrm>
            <a:off x="11383802" y="6579619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4615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84">
          <p15:clr>
            <a:srgbClr val="FBAE40"/>
          </p15:clr>
        </p15:guide>
        <p15:guide id="16" pos="3744">
          <p15:clr>
            <a:srgbClr val="FBAE40"/>
          </p15:clr>
        </p15:guide>
        <p15:guide id="17" pos="3960">
          <p15:clr>
            <a:srgbClr val="FBAE40"/>
          </p15:clr>
        </p15:guide>
        <p15:guide id="18" pos="5520">
          <p15:clr>
            <a:srgbClr val="FBAE40"/>
          </p15:clr>
        </p15:guide>
        <p15:guide id="19" pos="573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331449"/>
            <a:ext cx="4462271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33144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E260A1A-688B-774C-903C-0A3A1228859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09600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BF07118-053B-414A-A34E-2E71FB891D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66688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884995DE-D9B7-F74A-9A09-BC6B33E180B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09601" y="3663169"/>
            <a:ext cx="4462272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397435F2-C0C2-E842-AD20-5B59B875A84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4045" y="366316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8CC7B25-E7E3-7A4F-9221-95D452FB9BF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9600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0496160-F36D-7148-9711-3D00BA6DF6B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66688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850DE0C8-C2ED-EF4F-9321-CC3341907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91112C-9FF7-DE43-AF82-37C4452C4F3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23A338C-009A-CB4B-BC74-339517B20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A71106C-2D60-4B3B-9163-BD2E616B86A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3CD4302-0E8F-4769-AB5B-7BD122BAF5D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103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B04D166-4958-9349-BD73-4AD540758D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10202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D83C91-857A-4B26-8D8A-56951DA295AF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7981E2-A37D-44F7-9BC3-BADD5267227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53D914B-3AFE-47C3-BF0E-9F2857DB64D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11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Gray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E99A931-BFA9-5441-87EA-3CF04D1426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102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23A58EC-AF56-4ACE-99F7-40FDEFE6CA3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FF630E-A1BB-4624-BDA0-23B817EB760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345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42602" y="2091325"/>
            <a:ext cx="7906795" cy="2675350"/>
          </a:xfrm>
        </p:spPr>
        <p:txBody>
          <a:bodyPr anchor="ctr" anchorCtr="0">
            <a:norm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 algn="ctr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0" name="Picture 9" descr="Logo, icon, company name&#10;&#10;Description automatically generated">
            <a:extLst>
              <a:ext uri="{FF2B5EF4-FFF2-40B4-BE49-F238E27FC236}">
                <a16:creationId xmlns:a16="http://schemas.microsoft.com/office/drawing/2014/main" id="{C96BA8FE-3771-B54A-859B-C75E4B87088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303323"/>
            <a:ext cx="2934502" cy="1645920"/>
          </a:xfrm>
          <a:prstGeom prst="rect">
            <a:avLst/>
          </a:prstGeom>
        </p:spPr>
      </p:pic>
      <p:pic>
        <p:nvPicPr>
          <p:cNvPr id="11" name="Picture 10" descr="Logo, icon, company name&#10;&#10;Description automatically generated">
            <a:extLst>
              <a:ext uri="{FF2B5EF4-FFF2-40B4-BE49-F238E27FC236}">
                <a16:creationId xmlns:a16="http://schemas.microsoft.com/office/drawing/2014/main" id="{2EEAE64F-E79B-A540-A03C-DED1488A624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4908758"/>
            <a:ext cx="2934502" cy="164592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BC7BAB9-5828-4672-9095-605C815C6DA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214915C-8206-4E74-A63E-C99114665ED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225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ogo, icon, company name&#10;&#10;Description automatically generated">
            <a:extLst>
              <a:ext uri="{FF2B5EF4-FFF2-40B4-BE49-F238E27FC236}">
                <a16:creationId xmlns:a16="http://schemas.microsoft.com/office/drawing/2014/main" id="{7F5ACA36-7B90-4DAB-9853-21FD876EE1B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8591" y="282057"/>
            <a:ext cx="3260557" cy="1828800"/>
          </a:xfrm>
          <a:prstGeom prst="rect">
            <a:avLst/>
          </a:prstGeom>
        </p:spPr>
      </p:pic>
      <p:pic>
        <p:nvPicPr>
          <p:cNvPr id="11" name="Picture 10" descr="Logo, icon, company name&#10;&#10;Description automatically generated">
            <a:extLst>
              <a:ext uri="{FF2B5EF4-FFF2-40B4-BE49-F238E27FC236}">
                <a16:creationId xmlns:a16="http://schemas.microsoft.com/office/drawing/2014/main" id="{64E791DD-49B1-496A-A392-7FC776855FA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86004" y="4725878"/>
            <a:ext cx="3260558" cy="1828800"/>
          </a:xfrm>
          <a:prstGeom prst="rect">
            <a:avLst/>
          </a:prstGeom>
        </p:spPr>
      </p:pic>
      <p:pic>
        <p:nvPicPr>
          <p:cNvPr id="12" name="Picture 11" descr="A person wearing a hat&#10;&#10;Description automatically generated with low confidence">
            <a:extLst>
              <a:ext uri="{FF2B5EF4-FFF2-40B4-BE49-F238E27FC236}">
                <a16:creationId xmlns:a16="http://schemas.microsoft.com/office/drawing/2014/main" id="{51BF93FB-67CC-AB45-8F7F-896B8D199EF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2992" y="396682"/>
            <a:ext cx="3656002" cy="6440051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A489385-8E1D-F44F-AA67-025F1040A8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3805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98AF792-8FA8-490C-A12A-00B7F7C25E35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8FFFC91-7B2C-4594-BBB8-5279D017364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4943279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  <p15:guide id="13" pos="384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- Phot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6B00F83-3660-194B-97E0-4599783E67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881BD6-5C0C-4CDA-94FE-9534E908DD6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C31686-0601-49A1-A560-B36639F0D21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24F9840-9E8F-43BB-876D-6619929D9C3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786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- Phot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5E62AD0-7492-9248-A420-17A87723997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3810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345161-A988-430F-8F5D-2140002DC367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D2F956-51D0-4CEA-A8C6-557C9124840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DF408AB-69B0-441A-9B12-C7BA9415306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732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6B624A7-6C4C-4B8C-B311-91708EF3AD8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97C293-4151-4F45-BEFC-FBBBEE255F6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27C9290-886E-4D7E-9009-0ACD4751EE4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25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64CFA36-6835-0746-9840-0E0BCAB2C9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516909-E1B2-444A-B3A8-7FCD52854FA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4AB5A1-60F2-4271-9FAC-E31461C114A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86E6A59-D2EF-466D-A88F-3B7C0E9FCDF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99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E1D89F0-AB54-E544-B426-C59272FE43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611252"/>
            <a:ext cx="5784219" cy="1817748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112A3CB-66FF-49A9-9F83-DC384BD34AB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71590D-A924-4EC3-8C0E-CF38A11B8CCB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01E167C1-AF1A-49C1-B2DA-711E50FCCAD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5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6B01A99-F0E4-4F6A-9814-CECDD9DC96F6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38B7B0-D097-7C40-B18F-DF9854A1FD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1600200"/>
            <a:ext cx="8155179" cy="3714750"/>
          </a:xfr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Visa Dialect Regular 18pt</a:t>
            </a:r>
          </a:p>
          <a:p>
            <a:pPr lvl="0"/>
            <a:r>
              <a:rPr lang="en-US"/>
              <a:t>Items are automatically numbered</a:t>
            </a:r>
          </a:p>
          <a:p>
            <a:pPr lvl="0"/>
            <a:r>
              <a:rPr lang="en-US"/>
              <a:t>If needed, use the Numbering button on the Home tab to turn off numbers.</a:t>
            </a:r>
          </a:p>
          <a:p>
            <a:pPr lvl="0"/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51B0AD-0CB2-A048-A80E-79B8AB9DC5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D9AF42-CC7A-4B9F-B211-4FF9B1A9EA79}"/>
              </a:ext>
            </a:extLst>
          </p:cNvPr>
          <p:cNvSpPr txBox="1"/>
          <p:nvPr/>
        </p:nvSpPr>
        <p:spPr>
          <a:xfrm>
            <a:off x="11387579" y="6587710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5983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pos="5520">
          <p15:clr>
            <a:srgbClr val="FBAE40"/>
          </p15:clr>
        </p15:guide>
        <p15:guide id="22" pos="5736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A4E5295-54E4-5142-89B4-6296C4B8CF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38F4279-0F64-1745-A6B8-C2704BC5A301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-830952" y="457200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63AACBE6-E182-6345-AFB0-E51AFD9846EE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10741427" y="3920825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B2706E-392F-4651-A72C-C804CD1AD8B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0567C7-587B-4D80-9DC9-AE3BEC155FE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4788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Quote - Photo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F536B2A-9621-8D43-9647-6BD326BB0E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F7283E-B18E-4891-9644-6A173F99F93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B3F41F-14AC-40D6-B66D-AAEADBE8496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D6FC2312-8932-4742-9352-D9582897CC1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262095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8D7751A-3D2C-4958-8F3D-7FD3A46C34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933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2" imgH="378" progId="TCLayout.ActiveDocument.1">
                  <p:embed/>
                </p:oleObj>
              </mc:Choice>
              <mc:Fallback>
                <p:oleObj name="think-cell Slide" r:id="rId3" imgW="382" imgH="3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8D7751A-3D2C-4958-8F3D-7FD3A46C34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C2B55CED-442B-411B-B70F-3E692974BDCB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F768C6C-CF58-204D-9B49-15E274BCFB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533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C770A6F-4F30-4069-B2E6-125B0281942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512FA1-C9F4-4FC5-8840-41326195738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2FD0776-1F23-4D62-9F8D-E0CA57957C9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918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C9001175-7075-1645-A2F8-5CFF254A79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4098631"/>
            <a:ext cx="5486400" cy="255210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For more information, please contact: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7BDC76E-3EAD-FF42-A2C0-030580EC536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600" y="4456611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31DD59B-560C-1E42-BC4F-D82BCCB9388E}"/>
              </a:ext>
            </a:extLst>
          </p:cNvPr>
          <p:cNvCxnSpPr>
            <a:cxnSpLocks/>
          </p:cNvCxnSpPr>
          <p:nvPr/>
        </p:nvCxnSpPr>
        <p:spPr>
          <a:xfrm>
            <a:off x="609600" y="4369549"/>
            <a:ext cx="5283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038108E8-A91B-544B-AE58-E579F97F32F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60494" y="4456611"/>
            <a:ext cx="5321905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92F71DB-5BDC-4740-BCA4-437EB0A68AB1}"/>
              </a:ext>
            </a:extLst>
          </p:cNvPr>
          <p:cNvCxnSpPr>
            <a:cxnSpLocks/>
          </p:cNvCxnSpPr>
          <p:nvPr/>
        </p:nvCxnSpPr>
        <p:spPr>
          <a:xfrm>
            <a:off x="6260496" y="4369549"/>
            <a:ext cx="5321905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8DC9CEBF-A997-3847-A730-F505EFD8210D}"/>
              </a:ext>
            </a:extLst>
          </p:cNvPr>
          <p:cNvSpPr txBox="1">
            <a:spLocks/>
          </p:cNvSpPr>
          <p:nvPr/>
        </p:nvSpPr>
        <p:spPr>
          <a:xfrm>
            <a:off x="609600" y="2335492"/>
            <a:ext cx="10972800" cy="1318883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Visa Dialect Medium" pitchFamily="2" charset="0"/>
                <a:ea typeface="+mj-ea"/>
                <a:cs typeface="+mj-cs"/>
              </a:defRPr>
            </a:lvl1pPr>
          </a:lstStyle>
          <a:p>
            <a:r>
              <a:rPr lang="en-US" sz="8000" spc="-150"/>
              <a:t>Thank you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93703EF-3215-7C4F-9099-263CB544039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13" name="Picture 12" descr="Background pattern, rectangle&#10;&#10;Description automatically generated">
            <a:extLst>
              <a:ext uri="{FF2B5EF4-FFF2-40B4-BE49-F238E27FC236}">
                <a16:creationId xmlns:a16="http://schemas.microsoft.com/office/drawing/2014/main" id="{1158DE16-2738-D94E-92CB-790882C8E9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72438FC-1EF6-4544-9CC6-2A755FA71C2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9F5E8F3-335C-4384-B1FF-B8461A4CD16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76B1A94-9885-4083-B250-B2F8FCFE31F0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8830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44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560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Quote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0C35452-CE92-4041-B1AB-4652EFF98AA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22A93CE-8ECC-45F5-AEF3-66B86A05880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4ADE85-FE04-4C1D-A0E3-C416257E524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424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Quote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DFA0D9A1-9E83-48FE-BA25-BF5B3FC5241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AF825AC-87A8-4DE1-883F-A7D4E837D14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9" name="Picture 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4C178F04-8C13-4DD6-BAE5-DE0ED7BE499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A6CFD8C-17D1-4CF1-8DC5-0B8EBD70374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ED8F4C4-5704-49EA-A065-468B22A46110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676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956CE09-72E4-4F2E-BB26-6A8A49D6757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4C3246-B392-4150-9B5C-C1BCC3CEDEE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902570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160D80-66DD-46E8-A1A8-3B4B3B81CA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3452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160D80-66DD-46E8-A1A8-3B4B3B81C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04A35BE-3B8F-4F3E-B795-82BFC49D771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err="1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0B54B57D-4A13-4469-9179-52A8E144AA4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68"/>
            <a:ext cx="10669590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3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9312020"/>
      </p:ext>
    </p:extLst>
  </p:cSld>
  <p:clrMapOvr>
    <a:masterClrMapping/>
  </p:clrMapOvr>
  <p:hf sldNum="0" hdr="0" dt="0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07C03D-C54D-40F9-AE6B-95171A2610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4DB319-1DBD-4158-A53E-69B8D62FFA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F822C-F838-414C-BE88-4C36BDF8A5E0}" type="datetimeFigureOut">
              <a:rPr lang="en-US" smtClean="0"/>
              <a:t>8/12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8DD8B8A-BE34-4A8E-84DB-6FB75CE4C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D4E8CF-5B8A-42F4-ADE9-A702385467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729373"/>
      </p:ext>
    </p:extLst>
  </p:cSld>
  <p:clrMapOvr>
    <a:masterClrMapping/>
  </p:clrMapOvr>
  <p:hf sldNum="0" hdr="0" dt="0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846BCC25-AC44-4BFA-A151-4070B551A0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889" y="1524000"/>
            <a:ext cx="11293841" cy="4572000"/>
          </a:xfrm>
        </p:spPr>
        <p:txBody>
          <a:bodyPr wrap="square"/>
          <a:lstStyle>
            <a:lvl1pPr marL="227013" marR="0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71500" marR="0" indent="-225425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200"/>
              </a:spcAft>
              <a:buClr>
                <a:srgbClr val="5C5C5C"/>
              </a:buClr>
              <a:buSzTx/>
              <a:buFont typeface="Calibri" panose="020F0502020204030204" pitchFamily="34" charset="0"/>
              <a:buChar char="─"/>
              <a:tabLst/>
              <a:defRPr/>
            </a:lvl2pPr>
            <a:lvl3pPr marL="801688" marR="0" indent="-17621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5C5C5C"/>
              </a:buClr>
              <a:buSzTx/>
              <a:buFont typeface="Arial" panose="020B0604020202020204" pitchFamily="34" charset="0"/>
              <a:buChar char="•"/>
              <a:tabLst/>
              <a:defRPr lang="en-US" sz="1800" kern="1200" noProof="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lvl4pPr>
          </a:lstStyle>
          <a:p>
            <a:pPr marL="227013" marR="0" lvl="0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227013" marR="0" lvl="1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227013" marR="0" lvl="2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227013" marR="0" lvl="3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F7810EDF-A4C7-49A3-A75F-9BF5A43AA89C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69"/>
            <a:ext cx="10669590" cy="38100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000" b="0" dirty="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227013" lvl="0" indent="-227013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4264BDF-3199-4030-97AE-11E54CC5E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ubtitle 1">
            <a:extLst>
              <a:ext uri="{FF2B5EF4-FFF2-40B4-BE49-F238E27FC236}">
                <a16:creationId xmlns:a16="http://schemas.microsoft.com/office/drawing/2014/main" id="{63B34DA0-1F00-4816-88BC-EF46999D46D7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888" y="6132296"/>
            <a:ext cx="11185127" cy="107722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</p:spTree>
    <p:extLst>
      <p:ext uri="{BB962C8B-B14F-4D97-AF65-F5344CB8AC3E}">
        <p14:creationId xmlns:p14="http://schemas.microsoft.com/office/powerpoint/2010/main" val="3303757821"/>
      </p:ext>
    </p:extLst>
  </p:cSld>
  <p:clrMapOvr>
    <a:masterClrMapping/>
  </p:clrMapOvr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B796B2-E9E7-4A1D-AD60-1EB8C21CF2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B3BD4A8-0E52-4FFD-81E5-4667BBF1EFC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1" y="6474469"/>
            <a:ext cx="552780" cy="17910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B95E950-296F-E542-B8F2-E86E8C26F9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341839-DFD3-DC46-B0B1-748514F6A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</p:spTree>
    <p:extLst>
      <p:ext uri="{BB962C8B-B14F-4D97-AF65-F5344CB8AC3E}">
        <p14:creationId xmlns:p14="http://schemas.microsoft.com/office/powerpoint/2010/main" val="2275598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66BDB3E-4F1B-4982-8BF9-AA6B1F1569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1995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66BDB3E-4F1B-4982-8BF9-AA6B1F1569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336C443-77E6-4A75-B607-C9BA335CB0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889" y="6453308"/>
            <a:ext cx="11185127" cy="10772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  <a:latin typeface="Segoe UI "/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>
            <a:lvl1pPr>
              <a:defRPr sz="28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4863302"/>
      </p:ext>
    </p:extLst>
  </p:cSld>
  <p:clrMapOvr>
    <a:masterClrMapping/>
  </p:clrMapOvr>
  <p:hf sldNum="0" hdr="0" dt="0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888" y="6132296"/>
            <a:ext cx="11185127" cy="107722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0940288"/>
      </p:ext>
    </p:extLst>
  </p:cSld>
  <p:clrMapOvr>
    <a:masterClrMapping/>
  </p:clrMapOvr>
  <p:hf sldNum="0" hdr="0" dt="0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39337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ED51B5-9107-44F8-8ED0-1DB5982AF25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err="1">
              <a:latin typeface="Segoe UI Light" panose="020B0502040204020203" pitchFamily="34" charset="0"/>
              <a:ea typeface="+mj-ea"/>
              <a:cs typeface="Segoe UI Light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0"/>
            <a:ext cx="11582400" cy="366254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188720"/>
            <a:ext cx="11582400" cy="1854867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7487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45919AD-36C2-4214-89C4-F6CAFE1A95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D64FBC7-0348-4FCB-B4CC-B3EBB783480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</p:spTree>
    <p:extLst>
      <p:ext uri="{BB962C8B-B14F-4D97-AF65-F5344CB8AC3E}">
        <p14:creationId xmlns:p14="http://schemas.microsoft.com/office/powerpoint/2010/main" val="101266659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ture Conside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884460-2E6B-57C3-4A1A-3DD2267770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588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884460-2E6B-57C3-4A1A-3DD2267770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701F9548-162A-4715-BBDE-BD262EE673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5B0F3AB-1D3B-49D8-9299-CC0116B50C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66799D28-B391-06B3-D24A-6F510AD8478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66DC150-E05C-93F4-918D-A6AE2567153F}"/>
              </a:ext>
            </a:extLst>
          </p:cNvPr>
          <p:cNvSpPr/>
          <p:nvPr userDrawn="1"/>
        </p:nvSpPr>
        <p:spPr>
          <a:xfrm>
            <a:off x="2803244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2541B3C5-0601-6653-1358-0EE6F33E407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636701"/>
            <a:ext cx="6065559" cy="1622425"/>
          </a:xfrm>
        </p:spPr>
        <p:txBody>
          <a:bodyPr/>
          <a:lstStyle>
            <a:lvl1pPr marL="171450" indent="-17145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  <p:sp>
        <p:nvSpPr>
          <p:cNvPr id="5" name="Text Placeholder 31">
            <a:extLst>
              <a:ext uri="{FF2B5EF4-FFF2-40B4-BE49-F238E27FC236}">
                <a16:creationId xmlns:a16="http://schemas.microsoft.com/office/drawing/2014/main" id="{5DEB308E-52E9-65FB-39A2-3E53FD6A68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3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</p:spTree>
    <p:extLst>
      <p:ext uri="{BB962C8B-B14F-4D97-AF65-F5344CB8AC3E}">
        <p14:creationId xmlns:p14="http://schemas.microsoft.com/office/powerpoint/2010/main" val="3923318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rategic Prior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299FF3B8-9DD0-A4EA-4362-2E2617D545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7915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299FF3B8-9DD0-A4EA-4362-2E2617D545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99C44EF8-0492-9847-9E9A-9278110E051F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701F9548-162A-4715-BBDE-BD262EE673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5B0F3AB-1D3B-49D8-9299-CC0116B50C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</a:t>
            </a:r>
            <a:r>
              <a:rPr lang="en-US" sz="1000" kern="1200" noProof="0">
                <a:solidFill>
                  <a:schemeClr val="accent2"/>
                </a:solidFill>
                <a:latin typeface="Visa Dialect Semibold" pitchFamily="2" charset="0"/>
                <a:ea typeface="+mn-ea"/>
                <a:cs typeface="+mn-cs"/>
              </a:rPr>
              <a:t>Strategic Priority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5512F029-8B6B-B265-2498-74B8A286E11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BD560A4-A43F-D6C2-412E-69DB5F304ADC}"/>
              </a:ext>
            </a:extLst>
          </p:cNvPr>
          <p:cNvCxnSpPr>
            <a:cxnSpLocks/>
          </p:cNvCxnSpPr>
          <p:nvPr userDrawn="1"/>
        </p:nvCxnSpPr>
        <p:spPr>
          <a:xfrm>
            <a:off x="720724" y="3453775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5AAB0947-95D2-91E4-7D78-09DB59B2DEBC}"/>
              </a:ext>
            </a:extLst>
          </p:cNvPr>
          <p:cNvSpPr/>
          <p:nvPr userDrawn="1"/>
        </p:nvSpPr>
        <p:spPr>
          <a:xfrm>
            <a:off x="2335771" y="3266488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6D7641-6154-86F4-A327-29637533DB57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6E367C4F-70EC-BDE9-C5AE-B9B11182E658}"/>
              </a:ext>
            </a:extLst>
          </p:cNvPr>
          <p:cNvSpPr/>
          <p:nvPr userDrawn="1"/>
        </p:nvSpPr>
        <p:spPr>
          <a:xfrm>
            <a:off x="2803244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DDBCA95-4CE6-5F1B-53B5-D893E10B84BC}"/>
              </a:ext>
            </a:extLst>
          </p:cNvPr>
          <p:cNvGrpSpPr/>
          <p:nvPr userDrawn="1"/>
        </p:nvGrpSpPr>
        <p:grpSpPr>
          <a:xfrm>
            <a:off x="2897467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1081CE7-7E75-EA00-68A7-0C54ED1FF55C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25" name="Picture 24" descr="Icon&#10;&#10;Description automatically generated">
              <a:extLst>
                <a:ext uri="{FF2B5EF4-FFF2-40B4-BE49-F238E27FC236}">
                  <a16:creationId xmlns:a16="http://schemas.microsoft.com/office/drawing/2014/main" id="{0BA9ABA6-7CB6-CA38-69DC-2546A6AB3B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F1CA976-9F81-6668-F4D9-322EEFF3DB11}"/>
              </a:ext>
            </a:extLst>
          </p:cNvPr>
          <p:cNvGrpSpPr/>
          <p:nvPr userDrawn="1"/>
        </p:nvGrpSpPr>
        <p:grpSpPr>
          <a:xfrm>
            <a:off x="2440285" y="3323719"/>
            <a:ext cx="2626437" cy="228600"/>
            <a:chOff x="720798" y="3314700"/>
            <a:chExt cx="2626437" cy="22860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6C6ED41-066B-E55F-C952-AAC8D82E2157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8" name="Graphic 22" descr="Playbook outline">
              <a:extLst>
                <a:ext uri="{FF2B5EF4-FFF2-40B4-BE49-F238E27FC236}">
                  <a16:creationId xmlns:a16="http://schemas.microsoft.com/office/drawing/2014/main" id="{5BBCE1FA-EEAD-24C7-2DF1-5FE0669BDE76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0279A02F-99C8-CD64-1295-7B2F48DFCBD8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81B25826-52E0-D5DE-3AFC-AC9D87403E3E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EA16AD64-CABD-8EE9-EDC3-5E6459498A1D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C4B0231A-BFD2-5301-5468-6572A959FBFE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8889CBED-D29E-2F6D-0012-F7983F23C7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72C35BD8-DD3E-035D-F507-71FB2515613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636701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</p:spTree>
    <p:extLst>
      <p:ext uri="{BB962C8B-B14F-4D97-AF65-F5344CB8AC3E}">
        <p14:creationId xmlns:p14="http://schemas.microsoft.com/office/powerpoint/2010/main" val="4233195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rategic Priority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299FF3B8-9DD0-A4EA-4362-2E2617D545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8441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299FF3B8-9DD0-A4EA-4362-2E2617D545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701F9548-162A-4715-BBDE-BD262EE673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5B0F3AB-1D3B-49D8-9299-CC0116B50C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</a:t>
            </a:r>
            <a:r>
              <a:rPr lang="en-US" sz="1000" kern="1200" noProof="0">
                <a:solidFill>
                  <a:schemeClr val="accent2"/>
                </a:solidFill>
                <a:latin typeface="Visa Dialect Semibold" pitchFamily="2" charset="0"/>
                <a:ea typeface="+mn-ea"/>
                <a:cs typeface="+mn-cs"/>
              </a:rPr>
              <a:t>Strategic Priority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5512F029-8B6B-B265-2498-74B8A286E11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489407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Illustrati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B980B98-A2F2-104F-B1F3-4969CC3C5A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54240" y="2776810"/>
            <a:ext cx="4431429" cy="329931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397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Dark Phot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08AFEF0-CB40-4365-A775-D6F2BB16FA4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0"/>
          <a:stretch/>
        </p:blipFill>
        <p:spPr>
          <a:xfrm>
            <a:off x="0" y="693"/>
            <a:ext cx="121920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8EC1F21-AAC7-8A41-9558-DBE34F21E88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AFB0E0BF-8F1B-C647-A3D3-2167637E4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63D750A-F4C0-194B-A4D8-5A5E6C4DEE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7" name="Picture 6" descr="Background pattern, rectangle&#10;&#10;Description automatically generated">
            <a:extLst>
              <a:ext uri="{FF2B5EF4-FFF2-40B4-BE49-F238E27FC236}">
                <a16:creationId xmlns:a16="http://schemas.microsoft.com/office/drawing/2014/main" id="{E058CA6E-5F4B-F941-BD6B-E82D893B126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6C5AB2C-D691-9849-BDBB-E7E6DFBD91C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1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BAB3BF8-5AE5-EB46-8B57-998DACED1EF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1"/>
                </a:solidFill>
              </a:rPr>
              <a:pPr algn="r"/>
              <a:t>‹#›</a:t>
            </a:fld>
            <a:endParaRPr lang="en-US" sz="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648764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876AED2-1CFF-4BDE-9E1E-69CBC3EB080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159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4848DAD-A1C5-BA4C-9B67-B4FD8714D28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7F36E9A5-B20B-9240-BE59-A48AFE097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4173" y="1610833"/>
            <a:ext cx="5481827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856474F-DB99-E44D-BFE6-6C67698BAD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4173" y="2647860"/>
            <a:ext cx="5481826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9" name="Picture 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03B21D41-9026-49AE-9F0C-C3635D68359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9560AEA-675B-0747-9C5B-DBF5C5D4574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475C2A6-77D3-EE48-B7DC-5AD197DBE1D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684829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8A5BA51-F084-46F7-93C2-7B53463A69A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1" y="6474469"/>
            <a:ext cx="552780" cy="179101"/>
          </a:xfrm>
          <a:prstGeom prst="rect">
            <a:avLst/>
          </a:prstGeom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8FFAC3C-0074-FE4C-A801-A8774F5415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EA814F0-7225-EE49-AEEB-8D88CDE9E2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8E4219-BF8A-EF4A-A133-8697CB3D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3841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Animated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80FA535-D4AF-42CF-9E01-4C837F26F4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0148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2" imgH="378" progId="TCLayout.ActiveDocument.1">
                  <p:embed/>
                </p:oleObj>
              </mc:Choice>
              <mc:Fallback>
                <p:oleObj name="think-cell Slide" r:id="rId5" imgW="382" imgH="3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80FA535-D4AF-42CF-9E01-4C837F26F4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0A6D42A5-3782-4C2C-9F77-15CD87FBF908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ver animation" descr="Cover animation">
            <a:extLst>
              <a:ext uri="{FF2B5EF4-FFF2-40B4-BE49-F238E27FC236}">
                <a16:creationId xmlns:a16="http://schemas.microsoft.com/office/drawing/2014/main" id="{7FC1DE2B-DAD6-47AB-9CB9-E8506337D6AE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6522783" y="0"/>
            <a:ext cx="5669217" cy="6823913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9F72CCA6-9EE3-C247-B43B-2AA3A4865D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292D8FE-1B47-1448-BFAB-BD805161A9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9F79052-C88A-1048-8CED-1033FB84B149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pic>
        <p:nvPicPr>
          <p:cNvPr id="8" name="Picture 7" descr="Background pattern, rectangle&#10;&#10;Description automatically generated">
            <a:extLst>
              <a:ext uri="{FF2B5EF4-FFF2-40B4-BE49-F238E27FC236}">
                <a16:creationId xmlns:a16="http://schemas.microsoft.com/office/drawing/2014/main" id="{ED388E55-55D7-5C40-ADE9-5CEA3FE4221C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199D746-2464-FD49-84E3-654E4F57AC0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86940F-7C28-224B-98AB-1812886ABDC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2636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648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Cut Out Photo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, rectangle&#10;&#10;Description automatically generated">
            <a:extLst>
              <a:ext uri="{FF2B5EF4-FFF2-40B4-BE49-F238E27FC236}">
                <a16:creationId xmlns:a16="http://schemas.microsoft.com/office/drawing/2014/main" id="{B0E12C26-1E94-CB42-8023-58210ADC5FB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1776" y="1610833"/>
            <a:ext cx="4163676" cy="278133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3FB5CC-A908-C349-A4A1-3544609E2CE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8B5B4A7-F017-C24F-89BE-552CF18DD5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9F4E330-F8C7-B84B-AAAB-64D4D5BB75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9" name="Picture 18" descr="A person wearing a hat&#10;&#10;Description automatically generated with low confidence">
            <a:extLst>
              <a:ext uri="{FF2B5EF4-FFF2-40B4-BE49-F238E27FC236}">
                <a16:creationId xmlns:a16="http://schemas.microsoft.com/office/drawing/2014/main" id="{FC0D15E3-B337-0549-B525-3F77087FC50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31405" y="208974"/>
            <a:ext cx="3774637" cy="664902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C070F02-578B-3443-B637-00D27509AA5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97C0451-24A4-DD41-B323-03E7C37034A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E1F78A4-DBDB-4267-92AD-FFB06CFE32B1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4876457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Cut Out Photo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BFEC35DF-7B4B-3640-B202-6D0D3C8927A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1776" y="1610833"/>
            <a:ext cx="4163676" cy="2781331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29A6456-0C45-5243-BC7D-3EBF863AF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9DAEB0D-D158-EE40-8A18-ED68A560B4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1F67C15-23BB-C34D-984B-365C6144B85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1264048-8683-B04A-BE92-365764B758F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86920" y="296944"/>
            <a:ext cx="3898532" cy="618005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2F55B74-8AE2-2F4C-A8CC-7002F18140F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964E4DA-CF8C-5245-BEE4-F59B1938DEC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86C8F39-AC74-4106-A1AE-01B8F6D9634C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240526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Cut Out Photo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Background pattern, rectangle&#10;&#10;Description automatically generated">
            <a:extLst>
              <a:ext uri="{FF2B5EF4-FFF2-40B4-BE49-F238E27FC236}">
                <a16:creationId xmlns:a16="http://schemas.microsoft.com/office/drawing/2014/main" id="{E8930F7D-FC4C-B545-BF55-6C2F96ED1D7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1776" y="1610833"/>
            <a:ext cx="4163676" cy="2781331"/>
          </a:xfrm>
          <a:prstGeom prst="rect">
            <a:avLst/>
          </a:prstGeom>
        </p:spPr>
      </p:pic>
      <p:pic>
        <p:nvPicPr>
          <p:cNvPr id="22" name="Picture 21" descr="A person holding a phone&#10;&#10;Description automatically generated with medium confidence">
            <a:extLst>
              <a:ext uri="{FF2B5EF4-FFF2-40B4-BE49-F238E27FC236}">
                <a16:creationId xmlns:a16="http://schemas.microsoft.com/office/drawing/2014/main" id="{7CF29D7B-D274-A24D-9456-1D142F993F1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11528" y="734453"/>
            <a:ext cx="3702286" cy="6123547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A4B0D38C-5191-2A46-A65F-EB152D0EE1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10833"/>
            <a:ext cx="5486400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FAD9EF4-BFE4-544D-89ED-637CA0828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2647860"/>
            <a:ext cx="5486399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EF24CA7-7CB8-2447-9C3C-B88313F9FBC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3" y="385590"/>
            <a:ext cx="836212" cy="270932"/>
          </a:xfrm>
          <a:prstGeom prst="rect">
            <a:avLst/>
          </a:prstGeom>
        </p:spPr>
      </p:pic>
      <p:pic>
        <p:nvPicPr>
          <p:cNvPr id="23" name="Picture 22" descr="A picture containing person, dog&#10;&#10;Description automatically generated">
            <a:extLst>
              <a:ext uri="{FF2B5EF4-FFF2-40B4-BE49-F238E27FC236}">
                <a16:creationId xmlns:a16="http://schemas.microsoft.com/office/drawing/2014/main" id="{30F7D106-CE35-E242-B8C0-5B06D3A2CE6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7833" y="3909462"/>
            <a:ext cx="2726676" cy="278133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1094A0A-76A3-1B45-9EF1-EF4320A30CC7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F4E884-A953-F146-98F1-8B4C5B6833E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A3DEAE8-4A72-4BCE-B4E2-12326ADEF205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494070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­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3708F72-9177-1C4A-B014-F0C6B19AB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C3D2448-008D-704E-B888-D8E863B403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3EB1792-DD80-214E-9375-EE70AE1BB6B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06F69B3-EAF8-AD4A-A506-57425CC3FBBF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D4F06E-0767-9446-A975-422A8E49DAA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B89775-FC9C-4A6C-8F15-A47A5CCABCA3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877728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 - with Ic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076C857-6C05-8E4F-89DE-4C6A9CEA50B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B4CD84E1-A716-784A-BEDC-3F776D13EC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5F9A24A-091B-1847-A8CD-FA05E6DF03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8FA1B8AC-487C-49C6-B84A-CD69B74EDE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208008" y="3835908"/>
            <a:ext cx="2374392" cy="237439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D319C69-C7DB-B842-A288-4B78C966A26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94403A-163E-2F49-B354-92394604048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9392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FAEF6FF-624F-F941-8333-F016E751BE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E27E99B-5241-0942-B27C-8DC37A0E3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8F6A2D3-237C-B142-BB6C-D1D674B692C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E83F0A4-A2E0-234F-9735-E801C5099329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5DD0A7-9B3F-B445-B3E3-DCBA18FD692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1152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 - VBM+Symb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653EF4D2-FA1F-824F-9159-013422D09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accent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D0E9125-603C-FE4B-9FE5-B2CDA2CFBD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75FF374-CE84-874F-AD2F-DEC1ADE14B1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0F52965-CEEE-2C41-AD99-92F2BDAE802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E4A174-513B-AF43-8972-1BF7BACDE2E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533885-FB97-4BC6-993A-9DC5563047FB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741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B023C5D-F5CC-44FA-834F-43851B9A10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43EE40-5826-477B-BEEF-B50E81BADC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3463FD-6F8E-41D2-B867-102704C5E9FC}"/>
              </a:ext>
            </a:extLst>
          </p:cNvPr>
          <p:cNvCxnSpPr>
            <a:cxnSpLocks/>
          </p:cNvCxnSpPr>
          <p:nvPr/>
        </p:nvCxnSpPr>
        <p:spPr>
          <a:xfrm>
            <a:off x="6096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843B257-7F12-4633-9525-3B6D2C5C29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884D96D-3DE4-40B0-90D8-B5918CF1D0E8}"/>
              </a:ext>
            </a:extLst>
          </p:cNvPr>
          <p:cNvCxnSpPr>
            <a:cxnSpLocks/>
          </p:cNvCxnSpPr>
          <p:nvPr/>
        </p:nvCxnSpPr>
        <p:spPr>
          <a:xfrm>
            <a:off x="3454400" y="2521444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5176D7D-6355-4FF3-9137-FC5B3D8B65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5426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7B4ED28-009B-4D27-8603-E737D3353D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2F40EFA-7CFE-412F-9670-84A0FD0AAAD2}"/>
              </a:ext>
            </a:extLst>
          </p:cNvPr>
          <p:cNvCxnSpPr>
            <a:cxnSpLocks/>
          </p:cNvCxnSpPr>
          <p:nvPr/>
        </p:nvCxnSpPr>
        <p:spPr>
          <a:xfrm>
            <a:off x="90932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0EAEBC3-D403-4863-B94C-5BA28D11A2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0BF9787-757D-4D4A-9D39-36E4F20150F8}"/>
              </a:ext>
            </a:extLst>
          </p:cNvPr>
          <p:cNvCxnSpPr>
            <a:cxnSpLocks/>
          </p:cNvCxnSpPr>
          <p:nvPr/>
        </p:nvCxnSpPr>
        <p:spPr>
          <a:xfrm>
            <a:off x="6096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39AED03-861E-49F5-9486-9875D7F325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54400" y="3962591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6A4D639-35EE-4A75-9D5D-F5D68D810241}"/>
              </a:ext>
            </a:extLst>
          </p:cNvPr>
          <p:cNvCxnSpPr>
            <a:cxnSpLocks/>
          </p:cNvCxnSpPr>
          <p:nvPr/>
        </p:nvCxnSpPr>
        <p:spPr>
          <a:xfrm>
            <a:off x="3454400" y="4916821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191B399-15E8-4E18-95CE-9D88E07F66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5423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9BE4E74-7BEC-498B-AB83-0C7C20ED890A}"/>
              </a:ext>
            </a:extLst>
          </p:cNvPr>
          <p:cNvCxnSpPr>
            <a:cxnSpLocks/>
          </p:cNvCxnSpPr>
          <p:nvPr/>
        </p:nvCxnSpPr>
        <p:spPr>
          <a:xfrm>
            <a:off x="6295423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92CC6EC-3B35-4B15-8ECF-71827B4F797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932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A28FED9-B6B8-4348-BFC2-E292A6FB0FCF}"/>
              </a:ext>
            </a:extLst>
          </p:cNvPr>
          <p:cNvCxnSpPr>
            <a:cxnSpLocks/>
          </p:cNvCxnSpPr>
          <p:nvPr/>
        </p:nvCxnSpPr>
        <p:spPr>
          <a:xfrm>
            <a:off x="90932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Content Placeholder 2">
            <a:extLst>
              <a:ext uri="{FF2B5EF4-FFF2-40B4-BE49-F238E27FC236}">
                <a16:creationId xmlns:a16="http://schemas.microsoft.com/office/drawing/2014/main" id="{11899807-858E-4003-8BDF-4015E542845B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609600" y="2643202"/>
            <a:ext cx="247828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6" name="Content Placeholder 2">
            <a:extLst>
              <a:ext uri="{FF2B5EF4-FFF2-40B4-BE49-F238E27FC236}">
                <a16:creationId xmlns:a16="http://schemas.microsoft.com/office/drawing/2014/main" id="{8713D4C8-925C-4E15-9DF9-AB425817C32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454400" y="2643208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7" name="Content Placeholder 2">
            <a:extLst>
              <a:ext uri="{FF2B5EF4-FFF2-40B4-BE49-F238E27FC236}">
                <a16:creationId xmlns:a16="http://schemas.microsoft.com/office/drawing/2014/main" id="{7EDB3C1E-C224-4411-B608-25ABA2658B70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6295426" y="2643202"/>
            <a:ext cx="2489197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8" name="Content Placeholder 2">
            <a:extLst>
              <a:ext uri="{FF2B5EF4-FFF2-40B4-BE49-F238E27FC236}">
                <a16:creationId xmlns:a16="http://schemas.microsoft.com/office/drawing/2014/main" id="{601DD3FF-8D08-49F7-97A5-81CD5390891E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9093200" y="2643202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9" name="Content Placeholder 2">
            <a:extLst>
              <a:ext uri="{FF2B5EF4-FFF2-40B4-BE49-F238E27FC236}">
                <a16:creationId xmlns:a16="http://schemas.microsoft.com/office/drawing/2014/main" id="{E6F0E1CC-E3A5-476C-B9BD-8E55B73C912E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09600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Content Placeholder 2">
            <a:extLst>
              <a:ext uri="{FF2B5EF4-FFF2-40B4-BE49-F238E27FC236}">
                <a16:creationId xmlns:a16="http://schemas.microsoft.com/office/drawing/2014/main" id="{6CA859C0-8CC8-4AD9-A9BC-64F1FC91D711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454400" y="5024160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1" name="Content Placeholder 2">
            <a:extLst>
              <a:ext uri="{FF2B5EF4-FFF2-40B4-BE49-F238E27FC236}">
                <a16:creationId xmlns:a16="http://schemas.microsoft.com/office/drawing/2014/main" id="{BBD7B664-2D47-45FC-8170-499D24E52CD3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6295423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2" name="Content Placeholder 2">
            <a:extLst>
              <a:ext uri="{FF2B5EF4-FFF2-40B4-BE49-F238E27FC236}">
                <a16:creationId xmlns:a16="http://schemas.microsoft.com/office/drawing/2014/main" id="{7C76208B-5543-46CF-A9E2-FACFA2214379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9089423" y="5007399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1B229B7-1E51-4DB5-8A87-EA006CA75597}"/>
              </a:ext>
            </a:extLst>
          </p:cNvPr>
          <p:cNvCxnSpPr>
            <a:cxnSpLocks/>
          </p:cNvCxnSpPr>
          <p:nvPr/>
        </p:nvCxnSpPr>
        <p:spPr>
          <a:xfrm>
            <a:off x="6295426" y="2521444"/>
            <a:ext cx="248919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D076AD15-8A80-4D5C-99D2-930048D9981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CA210-CD82-4973-86C5-C81EDE5EA83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8680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84">
          <p15:clr>
            <a:srgbClr val="FBAE40"/>
          </p15:clr>
        </p15:guide>
        <p15:guide id="16" pos="3744">
          <p15:clr>
            <a:srgbClr val="FBAE40"/>
          </p15:clr>
        </p15:guide>
        <p15:guide id="17" pos="3960">
          <p15:clr>
            <a:srgbClr val="FBAE40"/>
          </p15:clr>
        </p15:guide>
        <p15:guide id="18" pos="5520">
          <p15:clr>
            <a:srgbClr val="FBAE40"/>
          </p15:clr>
        </p15:guide>
        <p15:guide id="19" pos="573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6B01A99-F0E4-4F6A-9814-CECDD9DC96F6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38B7B0-D097-7C40-B18F-DF9854A1FD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1600200"/>
            <a:ext cx="8155179" cy="3714750"/>
          </a:xfr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Visa Dialect Regular 18pt</a:t>
            </a:r>
          </a:p>
          <a:p>
            <a:pPr lvl="0"/>
            <a:r>
              <a:rPr lang="en-US"/>
              <a:t>Items are automatically numbered</a:t>
            </a:r>
          </a:p>
          <a:p>
            <a:pPr lvl="0"/>
            <a:r>
              <a:rPr lang="en-US"/>
              <a:t>If needed, use the Numbering button on the Home tab to turn off numbers.</a:t>
            </a:r>
          </a:p>
          <a:p>
            <a:pPr lvl="0"/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51B0AD-0CB2-A048-A80E-79B8AB9DC5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902A4BD-9D83-44B2-ACE3-88F0098F377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D9AF42-CC7A-4B9F-B211-4FF9B1A9EA7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673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pos="5520">
          <p15:clr>
            <a:srgbClr val="FBAE40"/>
          </p15:clr>
        </p15:guide>
        <p15:guide id="22" pos="573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5B45E48-5A8A-7C43-968E-E1237A2CF6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E458D01-2E76-4D49-95E3-8329F9C32E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821AC90-4858-944A-AAA3-8FB5B5B21A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CD8F54C-28C6-4C1F-8CCF-8FD1BA4FCC5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1" y="647446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332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B796B2-E9E7-4A1D-AD60-1EB8C21CF2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B3BD4A8-0E52-4FFD-81E5-4667BBF1EFC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B95E950-296F-E542-B8F2-E86E8C26F9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341839-DFD3-DC46-B0B1-748514F6A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1E25E2-478B-4A61-B489-BCCB76E32FA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D9929F-8F44-4512-A3C5-4A94AA39173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6672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8A5BA51-F084-46F7-93C2-7B53463A69A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8FFAC3C-0074-FE4C-A801-A8774F5415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EA814F0-7225-EE49-AEEB-8D88CDE9E2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8E4219-BF8A-EF4A-A133-8697CB3D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9DDFC30-4C35-4FFE-B78F-CC6778ACBCB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8ED936E-64AB-439B-98BB-2235A783FB7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545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19E6CA2-344D-4DE3-AED7-2763D00E6F2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5B45E48-5A8A-7C43-968E-E1237A2CF6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E458D01-2E76-4D49-95E3-8329F9C32E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821AC90-4858-944A-AAA3-8FB5B5B21A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1F327F-1FC5-4766-BD46-CC371BD2A4C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564589-4D8E-4B07-B6EF-C13FC69FF19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255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4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0CB6150-C0E7-4A2D-82C2-2A7C8BF43AD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CB1B974-08D3-AB49-86CE-CCE82104A9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DFFAE56-C962-6C4A-AD68-F109E1F4C0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67E79CE-AD17-A442-A7EE-EEA5858FBA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D4241A-A15C-479B-B2A0-F40EAD45853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0CD241-C7A6-4F00-9726-06138E6089B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212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5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7BAF715-EBE8-446C-91FD-813ACDD79FA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77865E-7ADA-7C48-AC7C-7BD23AFA87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B5A86F8-9249-2941-BCE8-3144DCB36D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B89671E-C5A3-AC49-961F-0681EA7A7A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00655D-D26A-4756-9390-58205F822B2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771495-DD2C-4133-A19E-D2FC4E0161A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5090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6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10B0A4C-A4E3-4EFF-811D-C8F7F71DDAD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3B9DD37-5DFE-4A41-8FA8-34800D0AD8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CC9C687-5164-DD4B-905F-8D9278B64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1DCF08D-7562-D34D-A3B4-44FC665F46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89084A-677C-4667-80CD-ACE9A503F27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18D356-C67E-4C15-9A94-5289D723453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193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7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882F6FB-6C88-4EEE-9198-A9B87177A1B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5156B22-A2E9-B341-8510-C9C5982CFD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0F1350D-FD1E-384F-BE94-2292ED259F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64FC454-9417-9341-BB90-0BEC752290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6F9526-02BF-4F7A-B3A0-57215B91A51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D776A7-A108-4986-8E36-1A1B07036F5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886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8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34E0250-7EA6-A14E-85A2-70CC7AF598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FB486BD-B31D-2746-A2D9-D74A5612C6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9B97EB1-495E-7643-8ACA-13F7587376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DDD1-E673-413B-ABF2-1F205D7C233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405CC88-5C99-4116-8382-D1031391C5A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E749602-2703-420C-8E06-C21DD3AB922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433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Text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EF2D28D-835D-674E-9C16-1E2C9608E6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63B2BCD-5F69-8D43-8F89-629C13FC6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ECA1875B-428C-074B-81DA-1C09468F0A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4CF6F7F-687B-4B57-8E8F-5B349EA3B32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5263A8-6FCF-4763-8B81-709E07B3599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721066-D14F-4982-A518-C5F7B7B5C6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675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&amp;A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A96E994-B347-4526-B8DE-2F0DEE90471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9A7E0F-7DCB-4BBC-8865-65F8E448C5E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73FA28E-F3AC-4BE0-AD63-18713F88303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322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4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CB1B974-08D3-AB49-86CE-CCE82104A9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DFFAE56-C962-6C4A-AD68-F109E1F4C0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67E79CE-AD17-A442-A7EE-EEA5858FBA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18D7AAF-0838-48A4-850C-B4235D457E6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1" y="647446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019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&amp;A - Whit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65FE600-6E90-41CA-925C-7248AED93E6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115DBC-2B4F-4AA2-867E-80D7D554C07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357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5679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45919AD-36C2-4214-89C4-F6CAFE1A95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0AEBB67-1858-8045-8897-E60ACC3C616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4826C0C-2EDB-488A-8715-85AF64027CCD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785AC-4A3E-4F1C-B384-9A61E41DFD2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633292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  <p15:guide id="5" pos="5736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BD94BD7-12E0-4039-A6BE-706E15DF6B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952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BD94BD7-12E0-4039-A6BE-706E15DF6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0751AB5-BCE2-3A48-AB2B-81D2957752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4009E6-8C8C-4F63-8386-915350D1F6B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3475BE-34FA-478E-A50B-B89C4195AD5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0494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 -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01841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0751AB5-BCE2-3A48-AB2B-81D2957752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4009E6-8C8C-4F63-8386-915350D1F6B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3475BE-34FA-478E-A50B-B89C4195AD5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917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mber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9CE45557-2782-1C4D-9649-89829803926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599" y="1600200"/>
            <a:ext cx="8153401" cy="4610100"/>
          </a:xfrm>
        </p:spPr>
        <p:txBody>
          <a:bodyPr>
            <a:noAutofit/>
          </a:bodyPr>
          <a:lstStyle>
            <a:lvl1pPr marL="230188" indent="-230188">
              <a:lnSpc>
                <a:spcPct val="100000"/>
              </a:lnSpc>
              <a:spcBef>
                <a:spcPts val="1200"/>
              </a:spcBef>
              <a:spcAft>
                <a:spcPts val="800"/>
              </a:spcAft>
              <a:buFont typeface="+mj-lt"/>
              <a:buAutoNum type="arabicPeriod"/>
              <a:tabLst/>
              <a:defRPr sz="1600">
                <a:solidFill>
                  <a:schemeClr val="accent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/>
            </a:lvl2pPr>
            <a:lvl3pPr marL="4572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3pPr>
            <a:lvl4pPr marL="6858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edit numbering text styles</a:t>
            </a:r>
          </a:p>
          <a:p>
            <a:pPr lvl="2"/>
            <a:r>
              <a:rPr lang="en-US"/>
              <a:t>Second bullet level</a:t>
            </a:r>
          </a:p>
          <a:p>
            <a:pPr lvl="3"/>
            <a:r>
              <a:rPr lang="en-US"/>
              <a:t>Third bullet 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9B99707-631C-504C-957F-75DF92D4259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C748D62-F2B5-2B4A-9E6A-987900DA44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809BF2C-89DA-40FC-BDB4-F9F2327BD1B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B1CCE4-8767-470D-8DDB-B0AB133458C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0947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-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98EDF07-72EA-CE41-A35E-2CE9B7FCED0C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5636F92-56A3-4048-9234-A4D4D6B1402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09600" y="1600200"/>
            <a:ext cx="10972800" cy="4610100"/>
          </a:xfrm>
        </p:spPr>
        <p:txBody>
          <a:bodyPr>
            <a:noAutofit/>
          </a:bodyPr>
          <a:lstStyle>
            <a:lvl1pPr marL="514350" marR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3200" b="0" i="0">
                <a:solidFill>
                  <a:schemeClr val="tx1"/>
                </a:solidFill>
                <a:latin typeface="Visa Dialect Medium" pitchFamily="2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05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05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5pPr>
            <a:lvl6pPr marL="685800" indent="-176213">
              <a:tabLst/>
              <a:defRPr sz="1050"/>
            </a:lvl6pPr>
          </a:lstStyle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  <a:p>
            <a:pPr marL="5143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Second level</a:t>
            </a:r>
          </a:p>
          <a:p>
            <a:pPr marL="514350" marR="0" lvl="2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Third level</a:t>
            </a:r>
          </a:p>
          <a:p>
            <a:pPr marL="514350" marR="0" lvl="3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ourth level</a:t>
            </a:r>
          </a:p>
          <a:p>
            <a:pPr marL="514350" marR="0" lvl="4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ifth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764807F4-3A5E-4790-8BFF-9F75F97358A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A80DBE0-EA23-914C-BE1F-E2E9FA549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71262D7-4155-664A-A7EF-0F6CD92AC9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62BCEA-A68A-4769-B6ED-EF217FA5B7A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538CD4-8CE7-4DB6-9772-1D3E7895B31A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65FE215-5FF4-864B-8264-06F499FAE80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</p:spTree>
    <p:extLst>
      <p:ext uri="{BB962C8B-B14F-4D97-AF65-F5344CB8AC3E}">
        <p14:creationId xmlns:p14="http://schemas.microsoft.com/office/powerpoint/2010/main" val="2775261077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6863A02-5AA9-0045-86B9-CB65111A28F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5B523E-6B9A-3E4C-A8C8-39C38CC0B143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250640" y="1600200"/>
            <a:ext cx="5331759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348177B1-77DF-0E4E-A6DB-F730917346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CA431A8-80BE-3346-AEA4-3FE5EF0F87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D624208-192E-BD42-8C2C-D3FC7AB00F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C0911FF-6A58-4AC3-BA4B-74146AFF60A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889C50-093C-44CD-9F44-6167FE8E94F6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485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1EF644C3-BD07-6F42-99C3-8410727AAF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2643202"/>
            <a:ext cx="5283200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CDC8C9A-A5A1-DC44-9C5A-22CFBA39C58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48400" y="2643202"/>
            <a:ext cx="5334003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ED0B6DA-B1AD-8E4B-8D28-00B2D6352F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5283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2A5599-054E-9A4C-941D-DEAF685255BE}"/>
              </a:ext>
            </a:extLst>
          </p:cNvPr>
          <p:cNvCxnSpPr>
            <a:cxnSpLocks/>
          </p:cNvCxnSpPr>
          <p:nvPr/>
        </p:nvCxnSpPr>
        <p:spPr>
          <a:xfrm>
            <a:off x="609601" y="2521444"/>
            <a:ext cx="5306479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3914B0B-B3F6-A24C-B306-C2DE3CCFF8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48400" y="1567214"/>
            <a:ext cx="53340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E64FE3A-369E-0945-9952-79DE2D0CB498}"/>
              </a:ext>
            </a:extLst>
          </p:cNvPr>
          <p:cNvCxnSpPr>
            <a:cxnSpLocks/>
          </p:cNvCxnSpPr>
          <p:nvPr/>
        </p:nvCxnSpPr>
        <p:spPr>
          <a:xfrm>
            <a:off x="6248400" y="2521444"/>
            <a:ext cx="53340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687A00C-C9A6-DD42-9977-99993E7D4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6398BA2-811F-1C41-BC08-078B116D4ED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28E9757-427C-C249-9F47-223DCD7BF1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5C6B76-F1B3-4070-9AD9-721B1B3B1DD5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467C840-0571-4C02-AAFA-CE700D8B267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1567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1207722-B163-475D-B601-1EA08B6AAA4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67100" y="1600200"/>
            <a:ext cx="81153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894B221-FC17-F343-84FB-9C6A7B7059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25146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157C6BA9-A888-C046-9D14-AD47E7120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6561AB5-5D81-0845-909C-25323AA17C5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1E59CE0-76E6-D84F-9E45-E33A3094777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70EE53B-2173-45C7-95D3-A8EF5A8655B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30520A-BC26-4AF2-B7EF-CC50B7B9D86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915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184">
          <p15:clr>
            <a:srgbClr val="FBAE40"/>
          </p15:clr>
        </p15:guide>
        <p15:guide id="9" pos="196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5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77865E-7ADA-7C48-AC7C-7BD23AFA87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B5A86F8-9249-2941-BCE8-3144DCB36D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B89671E-C5A3-AC49-961F-0681EA7A7A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9116B4A-2E18-472F-8B47-80FB76C4532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1" y="647446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190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97E3760-1BB7-4A60-8487-48CE1416C62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B38E0FE-FC45-D24E-BA98-E5CF5EA47103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026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DB9E50E-54A6-D849-A7F6-8093341C8184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81872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059B729-C6AE-024A-A0B1-CCF305824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E35142D-D790-6240-9E1C-1A74471BC44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6E9EADE-B7E9-1548-BE93-F92FE33A9CC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F424B3-9043-41D5-BB73-D95ECFBE8A5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50AC662-696C-417C-B404-73EAB33987A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546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4092CC5-4CE4-F14D-84E5-84942B23A7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339236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7756ABC-9266-214C-9F7B-E75E6FFA4963}"/>
              </a:ext>
            </a:extLst>
          </p:cNvPr>
          <p:cNvCxnSpPr>
            <a:cxnSpLocks/>
          </p:cNvCxnSpPr>
          <p:nvPr/>
        </p:nvCxnSpPr>
        <p:spPr>
          <a:xfrm>
            <a:off x="609601" y="2521444"/>
            <a:ext cx="3407308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9A161FA-C7FD-E645-A03F-D02DE0C8B2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19600" y="1567214"/>
            <a:ext cx="33528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9FB75EC-FDA1-D748-BDFC-0A34683F849E}"/>
              </a:ext>
            </a:extLst>
          </p:cNvPr>
          <p:cNvCxnSpPr>
            <a:cxnSpLocks/>
          </p:cNvCxnSpPr>
          <p:nvPr/>
        </p:nvCxnSpPr>
        <p:spPr>
          <a:xfrm>
            <a:off x="4419600" y="2521444"/>
            <a:ext cx="33528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30E2CEF-CCAC-CA4D-933F-027385DC49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78800" y="1567214"/>
            <a:ext cx="34036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6A0D02F-EE42-5B4C-BE0F-181D414229C6}"/>
              </a:ext>
            </a:extLst>
          </p:cNvPr>
          <p:cNvCxnSpPr>
            <a:cxnSpLocks/>
          </p:cNvCxnSpPr>
          <p:nvPr/>
        </p:nvCxnSpPr>
        <p:spPr>
          <a:xfrm>
            <a:off x="8178800" y="2521444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E976D561-61ED-9B4A-B630-6E037061A8DD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12104" y="2628900"/>
            <a:ext cx="33527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BEE0402C-E2BF-DB44-AB66-828DA835BF0F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13310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2B04388-6E13-7143-8DB6-9C4E843A0AB8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8184004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318BDE0-5FD0-8D41-B77E-3DF3B75DE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1D12C16-1BB5-BC4F-B6F8-46FB22666D5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32ADFB7F-C7B5-A141-A05E-65D8E762C31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6F590C6-4DDD-48C4-A0F5-A86A02C9241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606489D-F18B-49E7-A430-AF0A802226B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053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1656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13DA727-D0B5-5748-84C2-5C350C1088DF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1600200"/>
            <a:ext cx="2489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EA5DA42-0A63-7149-B091-08D10F848F2E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1600200"/>
            <a:ext cx="2432423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ACB33F5F-6A95-C141-A4CB-F1354D41AD3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8CF80BC6-09DE-3740-8861-1869483A0ECD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41518C0-F58C-DA41-8B70-42DC6B9B5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93602B9-7F9B-AE4E-9BAF-34FC72E3CBF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95869B9-14BA-E94B-BFB4-EEEE6C185E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3B37F05-0F07-4AC7-AB0A-840C29CFAD7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F8EB945-89E4-4F5C-AABF-2F9F526C155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746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70B93C1-A913-6949-9E7A-C612BA63F6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66616FA-1027-5A4A-AC2C-E2DC86D90196}"/>
              </a:ext>
            </a:extLst>
          </p:cNvPr>
          <p:cNvCxnSpPr>
            <a:cxnSpLocks/>
          </p:cNvCxnSpPr>
          <p:nvPr/>
        </p:nvCxnSpPr>
        <p:spPr>
          <a:xfrm>
            <a:off x="6096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5070E2-249F-2E41-8903-2C611249DB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EB18407-6858-9A4B-92C4-92013BAEACC6}"/>
              </a:ext>
            </a:extLst>
          </p:cNvPr>
          <p:cNvCxnSpPr>
            <a:cxnSpLocks/>
          </p:cNvCxnSpPr>
          <p:nvPr/>
        </p:nvCxnSpPr>
        <p:spPr>
          <a:xfrm>
            <a:off x="3454400" y="2521444"/>
            <a:ext cx="24384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A618BCB-5657-E640-B496-300C09D2BD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3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2571815-7AC9-4A48-8176-16337A1C25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8CA6EDF-309F-9C43-88A2-C720D2079C09}"/>
              </a:ext>
            </a:extLst>
          </p:cNvPr>
          <p:cNvCxnSpPr>
            <a:cxnSpLocks/>
          </p:cNvCxnSpPr>
          <p:nvPr/>
        </p:nvCxnSpPr>
        <p:spPr>
          <a:xfrm>
            <a:off x="90932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F0A98B5-2885-FC4B-8E93-11E6853D6063}"/>
              </a:ext>
            </a:extLst>
          </p:cNvPr>
          <p:cNvCxnSpPr>
            <a:cxnSpLocks/>
          </p:cNvCxnSpPr>
          <p:nvPr/>
        </p:nvCxnSpPr>
        <p:spPr>
          <a:xfrm>
            <a:off x="6248403" y="2521444"/>
            <a:ext cx="2489197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1631775-8D64-4341-A917-ACCA02A442D2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2628900"/>
            <a:ext cx="2489200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4E99E6E9-2494-B940-B1EF-092C3EADC772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2628900"/>
            <a:ext cx="2432423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819DCF24-1964-3644-9168-FF49E2A566D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CF5FC023-DCB7-9848-9776-BCD9A603067E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8EC50DE8-D067-984E-9012-11FC27E62E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7D501EE-A03D-D64F-A115-5ECD03AA3F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D59275F-6240-2347-801C-D9B63A23481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CF193E4-ADC4-4233-AEA9-ABE6800A232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5A837DC-6429-46C6-A734-03312F3E3B0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781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0659210-753C-4957-8F25-A4D709FAB681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28DF06C-CFDC-2447-B7D4-E75EC0431F79}"/>
              </a:ext>
            </a:extLst>
          </p:cNvPr>
          <p:cNvCxnSpPr>
            <a:cxnSpLocks/>
          </p:cNvCxnSpPr>
          <p:nvPr/>
        </p:nvCxnSpPr>
        <p:spPr>
          <a:xfrm>
            <a:off x="60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F1E348A8-D8AD-8342-95C4-1E731B229D5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636295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BE5757E-813A-8F48-9A5A-EEC1071594D2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45273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7" name="Picture Placeholder 2">
            <a:extLst>
              <a:ext uri="{FF2B5EF4-FFF2-40B4-BE49-F238E27FC236}">
                <a16:creationId xmlns:a16="http://schemas.microsoft.com/office/drawing/2014/main" id="{95C65A02-D19F-294F-BC73-89CD66DB23DC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269171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0C183E4-86E4-6940-9A6D-E9DE7740EFA7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13310" y="3379809"/>
            <a:ext cx="340359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3ECD2BF-4248-F14F-AB63-732DFF2D5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8DA343F-1525-584F-88BA-86B0FE83B43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EE7EA97-253E-FB40-B94E-BE9389B08B5F}"/>
              </a:ext>
            </a:extLst>
          </p:cNvPr>
          <p:cNvCxnSpPr>
            <a:cxnSpLocks/>
          </p:cNvCxnSpPr>
          <p:nvPr/>
        </p:nvCxnSpPr>
        <p:spPr>
          <a:xfrm>
            <a:off x="441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BE90A3C5-FAC6-4A4A-B289-095811B7B144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423311" y="3379809"/>
            <a:ext cx="3349090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A926BB4-EEF2-5A49-844D-B93A3BB53E82}"/>
              </a:ext>
            </a:extLst>
          </p:cNvPr>
          <p:cNvCxnSpPr>
            <a:cxnSpLocks/>
          </p:cNvCxnSpPr>
          <p:nvPr/>
        </p:nvCxnSpPr>
        <p:spPr>
          <a:xfrm>
            <a:off x="81915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B46288C4-4A89-B443-8199-6DBD23F67C2B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8195210" y="3379809"/>
            <a:ext cx="339988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8D0F15B-D16C-1944-9EC2-DED14D92BDA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2BE0D9F-95D1-4003-A390-8D48D1D3680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FD9C543-41B1-4AA5-9309-C44DBC35EA1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026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2040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89BE8A8-1D24-0141-85A7-333554C30119}"/>
              </a:ext>
            </a:extLst>
          </p:cNvPr>
          <p:cNvCxnSpPr>
            <a:cxnSpLocks/>
          </p:cNvCxnSpPr>
          <p:nvPr/>
        </p:nvCxnSpPr>
        <p:spPr>
          <a:xfrm>
            <a:off x="609600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A0458D0-DECB-7844-94C6-EFB2F9402D5A}"/>
              </a:ext>
            </a:extLst>
          </p:cNvPr>
          <p:cNvCxnSpPr>
            <a:cxnSpLocks/>
          </p:cNvCxnSpPr>
          <p:nvPr/>
        </p:nvCxnSpPr>
        <p:spPr>
          <a:xfrm>
            <a:off x="3453977" y="3242438"/>
            <a:ext cx="244368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48E85A-F259-CF49-BE34-708227EC6828}"/>
              </a:ext>
            </a:extLst>
          </p:cNvPr>
          <p:cNvCxnSpPr>
            <a:cxnSpLocks/>
          </p:cNvCxnSpPr>
          <p:nvPr/>
        </p:nvCxnSpPr>
        <p:spPr>
          <a:xfrm>
            <a:off x="6257308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8AC0041-3EAA-134B-978F-4B02C0FF045F}"/>
              </a:ext>
            </a:extLst>
          </p:cNvPr>
          <p:cNvCxnSpPr>
            <a:cxnSpLocks/>
          </p:cNvCxnSpPr>
          <p:nvPr/>
        </p:nvCxnSpPr>
        <p:spPr>
          <a:xfrm>
            <a:off x="9097177" y="3242438"/>
            <a:ext cx="2489201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390D2F0-3AD5-4F47-A10B-E047B365B1A9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3391762"/>
            <a:ext cx="2489200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0399C588-DBAD-2742-B89F-D479F30059DC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3391762"/>
            <a:ext cx="2432423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CB9B4B18-23D4-6E42-8831-4A20A413C64A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7B833A7B-9585-DC41-B130-684A63887C7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9087971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CAA2DFC-CB9D-694C-955F-30EA6BD3C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E065487-BF64-9342-A721-6A8BA2B8CF6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C0303739-0C13-CC4B-8202-FEEEAAB3C12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244600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BC6978E9-423F-9244-9FF8-DCD46EBA565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07379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48D3479E-1D17-DF4D-840E-0E14AA554B7C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902984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95A82027-A669-A245-99A2-2D77B7D1A97E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732177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3DE5F9E-3746-BC42-92AB-FEDCED42D71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DEAD3E0-81AC-41A7-B02C-F7C8E3C276C5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4CA7DE8-127A-4C0C-867D-2DAABF999D8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844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04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92D46C0-E581-4328-BA0D-DC338A15645F}"/>
              </a:ext>
            </a:extLst>
          </p:cNvPr>
          <p:cNvSpPr/>
          <p:nvPr/>
        </p:nvSpPr>
        <p:spPr>
          <a:xfrm>
            <a:off x="-1" y="0"/>
            <a:ext cx="755620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455917-5D69-4B31-B459-CEA3616D55C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C4B767-72FE-4F41-A667-B94ACBB19DB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31B887E-1D14-B443-ACD5-1A404FA009A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842643-0001-43A1-8A1D-935AC13EF9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617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Yellow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37E9115E-63DF-4133-A626-4F14A7DBBDDE}"/>
              </a:ext>
            </a:extLst>
          </p:cNvPr>
          <p:cNvSpPr/>
          <p:nvPr/>
        </p:nvSpPr>
        <p:spPr>
          <a:xfrm>
            <a:off x="0" y="0"/>
            <a:ext cx="181722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455917-5D69-4B31-B459-CEA3616D55C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C4B767-72FE-4F41-A667-B94ACBB19DB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634F3A4-2E2A-344D-B907-C0C95A55CA6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5FB4FCC-3325-C845-9B15-E71FF67E5B1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273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457200"/>
            <a:ext cx="5334000" cy="5753100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A3EE50D-9DEA-9149-9049-FE0CE78B8409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6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507D2AF-B968-8540-AB96-D7091A82A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6C401AA-42D6-3744-80D1-D2B7F64C7D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A396B81-A8CC-6A49-B843-D30A7CDAE7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139E18C-9244-4F8E-8874-0A704B4D19F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48614B-99AB-4109-AE47-2860B4C761C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4750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09600" y="1600201"/>
            <a:ext cx="5283200" cy="3145055"/>
          </a:xfrm>
          <a:solidFill>
            <a:schemeClr val="tx2"/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656EAC5-6B5F-4341-86FF-B7369C9AD23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258044" y="1600201"/>
            <a:ext cx="53340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AFFEF14-326C-4366-BE6C-30F2EAEF06F4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FCD28B-5132-4352-9BA2-B2C48B333EB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0" y="4911693"/>
            <a:ext cx="5283200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C7F8A7A-3661-4A31-988A-37E7A64D4614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13355B2A-3761-9B4A-A6CC-D82F751C5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9978769-6475-654F-8177-443C3A323D9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6CC2593-E020-1C41-B3F8-AD259BDD41F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58044" y="4911693"/>
            <a:ext cx="5324355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2626E75-A294-2F49-9D2A-F258BBC50F5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C109CE-3B47-410F-91BB-711F45926B4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5D53B0-AEE2-473F-B917-B8042CA583E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9755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309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6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3B9DD37-5DFE-4A41-8FA8-34800D0AD8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CC9C687-5164-DD4B-905F-8D9278B64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1DCF08D-7562-D34D-A3B4-44FC665F46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6646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E527502-AB0B-EA4C-93C1-E50D3BB46A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09600" y="1600201"/>
            <a:ext cx="34036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6B953B14-58B5-F64D-856E-665137C4F44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429455" y="1600201"/>
            <a:ext cx="3352801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D14F8D7C-7F6F-6143-9DE4-868B2E38A178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178797" y="1600201"/>
            <a:ext cx="3403603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472EF8D-56BE-AB48-A5F9-187114E95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5C8DF82-7F60-4849-A43B-8F4B9B5F0CA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CDCA026-D514-4D4B-AB98-08252DB87D8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09600" y="4911693"/>
            <a:ext cx="3423314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DF9BFF8-0532-EE45-9739-4B50F601F77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429245" y="4911693"/>
            <a:ext cx="3343155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82BB9B5-C539-B147-9A3E-C09EB047C38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91017" y="4911693"/>
            <a:ext cx="3403603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301442EF-174F-7C4C-948C-81FD2937D96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860610A-3A2F-41F6-A572-17E0B5918ED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B1B5DF1-398E-4039-9FEB-B800C1345BAB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6921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Tw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56BCCFD-B912-2F49-AE52-7814FFDCB534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832065A-C6D7-614D-A733-535BCA5ADF1B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8"/>
            <a:ext cx="5334000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7C7B404-7F93-AD4C-BE41-E5247D351B57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248399" y="471458"/>
            <a:ext cx="5334001" cy="273196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A5108AEE-9096-4643-8AFA-8EFF143BF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7962758-65CF-1D46-ADE8-60345727EDE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62937F0-7412-EA41-B511-EA81EB0FE83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1CFCE6-4389-4631-971B-C5551A0173C9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B961A7C-FF07-4129-BD07-6DC2F260A1D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892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Thre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90AF7A3C-BA0F-9B49-B1B5-D713C19139C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2"/>
            <a:ext cx="5346192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61755EBA-80EC-6B4F-B350-DC2DD71209FC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455C0536-27A6-644D-8348-9541070F401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248400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B3F5BBC4-47E5-1E46-9E4F-B0D0BB7BAB04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001094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38045DB-4C64-CE4D-B8E5-9949681D1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B569F93-B18A-C246-94EF-34A7D4EDD94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42BCFDB-7549-A74E-9341-258E6AB17A0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4E2A106-4F39-4E97-BFB5-DFFCCB4056E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40BDDF-AEFD-4BE1-9247-7302A27E82D6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95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248400" y="3308593"/>
            <a:ext cx="5346192" cy="2726853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A2E6023-8A40-1E44-BD81-EED366C96875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001094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65C3A6A-0967-1E4F-8831-6EA71CD06F5D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09600" y="1081613"/>
            <a:ext cx="5486399" cy="495382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1FAB2697-2712-FE45-8DA0-EF63106E2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69977AA-16BB-0C4F-A664-D6686D72F1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2E3B1F5-C5F5-B945-9146-E3FE66ADCC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2CA8F6-DF4D-4772-AB33-EC493EEF4B9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988813-B187-455D-85DF-CBB5882CF1AA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9000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pos="3840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031890" y="-10673"/>
            <a:ext cx="4160109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FBB367A8-8DCC-6847-8D30-74516D9E043C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031889" y="2390327"/>
            <a:ext cx="4160111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32A0B33A-CF8B-1947-ACB2-AB69665D80A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-1" y="1380745"/>
            <a:ext cx="7303008" cy="5477257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FDD1D1A5-5D9F-764D-A02B-21CB1442F7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FF61E78-AFFB-F44B-BFDB-C2B5875FA03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7BB4FD-6BC9-4C9C-8922-DD575DD56B1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7A549D4-3018-4CAF-B7B1-806723A2E4F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32D6F3F-2B06-47D0-B011-DEE222649B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37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59DC62E-7380-5A49-8746-53EFA12DC6E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1" y="1600201"/>
            <a:ext cx="2946400" cy="3619500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3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300"/>
              </a:spcBef>
              <a:defRPr sz="1400"/>
            </a:lvl3pPr>
            <a:lvl4pPr>
              <a:lnSpc>
                <a:spcPct val="100000"/>
              </a:lnSpc>
              <a:spcBef>
                <a:spcPts val="3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3CFF718-B5F0-3D45-A03C-81D5E2147CD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973689" y="2816352"/>
            <a:ext cx="7608711" cy="3124200"/>
          </a:xfrm>
        </p:spPr>
        <p:txBody>
          <a:bodyPr wrap="square" anchor="b" anchorCtr="0"/>
          <a:lstStyle>
            <a:lvl1pPr algn="r">
              <a:lnSpc>
                <a:spcPts val="18500"/>
              </a:lnSpc>
              <a:spcBef>
                <a:spcPts val="0"/>
              </a:spcBef>
              <a:defRPr sz="25000" b="0" i="0" kern="0" spc="-1000" baseline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952DD641-DB3B-6F45-8A70-05A69559D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747253A-0C59-CE4B-BC84-E5D8D706360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6FCD28A-7F94-9C4F-A31C-BF109312526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4437C85-71C1-4965-98AA-AB322A645B0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D4069C1-CB70-47E8-BE89-934AD89EEC3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227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496">
          <p15:clr>
            <a:srgbClr val="FBAE40"/>
          </p15:clr>
        </p15:guide>
        <p15:guide id="9" pos="2240">
          <p15:clr>
            <a:srgbClr val="FBAE40"/>
          </p15:clr>
        </p15:guide>
        <p15:guide id="10" orient="horz" pos="3288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600201"/>
            <a:ext cx="5283200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7D909CE-D30F-4445-9B83-FD490780AD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" y="4745032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E55C82F-13DC-204D-866F-573A53A30E3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8400" y="4739396"/>
            <a:ext cx="53340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600201"/>
            <a:ext cx="5328355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75B0F87-EFC2-B148-AC62-E7EDC82B6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F63A11A-E0DC-C441-8C0C-0C92B7CC32E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AAE6A4A-48A8-1C40-A6AE-398355A5309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AAA50A3-83EF-4952-8632-FFE353522B47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A21BB5-F73D-4D3A-9933-F159EB15525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284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331449"/>
            <a:ext cx="4462271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33144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E260A1A-688B-774C-903C-0A3A1228859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09600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BF07118-053B-414A-A34E-2E71FB891D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66688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884995DE-D9B7-F74A-9A09-BC6B33E180B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09601" y="3663169"/>
            <a:ext cx="4462272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397435F2-C0C2-E842-AD20-5B59B875A84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4045" y="366316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8CC7B25-E7E3-7A4F-9221-95D452FB9BF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9600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0496160-F36D-7148-9711-3D00BA6DF6B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66688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850DE0C8-C2ED-EF4F-9321-CC3341907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91112C-9FF7-DE43-AF82-37C4452C4F3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23A338C-009A-CB4B-BC74-339517B20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A71106C-2D60-4B3B-9163-BD2E616B86A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3CD4302-0E8F-4769-AB5B-7BD122BAF5D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984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B04D166-4958-9349-BD73-4AD540758D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10202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D83C91-857A-4B26-8D8A-56951DA295AF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7981E2-A37D-44F7-9BC3-BADD5267227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53D914B-3AFE-47C3-BF0E-9F2857DB64D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95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Gray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E99A931-BFA9-5441-87EA-3CF04D1426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102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23A58EC-AF56-4ACE-99F7-40FDEFE6CA3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FF630E-A1BB-4624-BDA0-23B817EB760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378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Dark Phot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08AFEF0-CB40-4365-A775-D6F2BB16FA4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0"/>
          <a:stretch/>
        </p:blipFill>
        <p:spPr>
          <a:xfrm>
            <a:off x="0" y="693"/>
            <a:ext cx="121920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8EC1F21-AAC7-8A41-9558-DBE34F21E88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AFB0E0BF-8F1B-C647-A3D3-2167637E4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63D750A-F4C0-194B-A4D8-5A5E6C4DEE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7" name="Picture 6" descr="Background pattern, rectangle&#10;&#10;Description automatically generated">
            <a:extLst>
              <a:ext uri="{FF2B5EF4-FFF2-40B4-BE49-F238E27FC236}">
                <a16:creationId xmlns:a16="http://schemas.microsoft.com/office/drawing/2014/main" id="{E058CA6E-5F4B-F941-BD6B-E82D893B126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6C5AB2C-D691-9849-BDBB-E7E6DFBD91CC}"/>
              </a:ext>
            </a:extLst>
          </p:cNvPr>
          <p:cNvSpPr txBox="1"/>
          <p:nvPr/>
        </p:nvSpPr>
        <p:spPr>
          <a:xfrm>
            <a:off x="9509533" y="6628807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1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BAB3BF8-5AE5-EB46-8B57-998DACED1EF0}"/>
              </a:ext>
            </a:extLst>
          </p:cNvPr>
          <p:cNvSpPr txBox="1"/>
          <p:nvPr/>
        </p:nvSpPr>
        <p:spPr>
          <a:xfrm>
            <a:off x="11583176" y="6628806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1"/>
                </a:solidFill>
              </a:rPr>
              <a:pPr algn="r"/>
              <a:t>‹#›</a:t>
            </a:fld>
            <a:endParaRPr lang="en-US" sz="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0455685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7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5156B22-A2E9-B341-8510-C9C5982CFD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0F1350D-FD1E-384F-BE94-2292ED259F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64FC454-9417-9341-BB90-0BEC752290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1361576-7FCF-4513-B87A-06AAD90272A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1" y="647446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9365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42602" y="2091325"/>
            <a:ext cx="7906795" cy="2675350"/>
          </a:xfrm>
        </p:spPr>
        <p:txBody>
          <a:bodyPr anchor="ctr" anchorCtr="0">
            <a:norm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 algn="ctr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0" name="Picture 9" descr="Logo, icon, company name&#10;&#10;Description automatically generated">
            <a:extLst>
              <a:ext uri="{FF2B5EF4-FFF2-40B4-BE49-F238E27FC236}">
                <a16:creationId xmlns:a16="http://schemas.microsoft.com/office/drawing/2014/main" id="{C96BA8FE-3771-B54A-859B-C75E4B87088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303323"/>
            <a:ext cx="2934502" cy="1645920"/>
          </a:xfrm>
          <a:prstGeom prst="rect">
            <a:avLst/>
          </a:prstGeom>
        </p:spPr>
      </p:pic>
      <p:pic>
        <p:nvPicPr>
          <p:cNvPr id="11" name="Picture 10" descr="Logo, icon, company name&#10;&#10;Description automatically generated">
            <a:extLst>
              <a:ext uri="{FF2B5EF4-FFF2-40B4-BE49-F238E27FC236}">
                <a16:creationId xmlns:a16="http://schemas.microsoft.com/office/drawing/2014/main" id="{2EEAE64F-E79B-A540-A03C-DED1488A624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4908758"/>
            <a:ext cx="2934502" cy="164592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BC7BAB9-5828-4672-9095-605C815C6DA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214915C-8206-4E74-A63E-C99114665ED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0380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ogo, icon, company name&#10;&#10;Description automatically generated">
            <a:extLst>
              <a:ext uri="{FF2B5EF4-FFF2-40B4-BE49-F238E27FC236}">
                <a16:creationId xmlns:a16="http://schemas.microsoft.com/office/drawing/2014/main" id="{7F5ACA36-7B90-4DAB-9853-21FD876EE1B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8591" y="282057"/>
            <a:ext cx="3260557" cy="1828800"/>
          </a:xfrm>
          <a:prstGeom prst="rect">
            <a:avLst/>
          </a:prstGeom>
        </p:spPr>
      </p:pic>
      <p:pic>
        <p:nvPicPr>
          <p:cNvPr id="11" name="Picture 10" descr="Logo, icon, company name&#10;&#10;Description automatically generated">
            <a:extLst>
              <a:ext uri="{FF2B5EF4-FFF2-40B4-BE49-F238E27FC236}">
                <a16:creationId xmlns:a16="http://schemas.microsoft.com/office/drawing/2014/main" id="{64E791DD-49B1-496A-A392-7FC776855FA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86004" y="4725878"/>
            <a:ext cx="3260558" cy="1828800"/>
          </a:xfrm>
          <a:prstGeom prst="rect">
            <a:avLst/>
          </a:prstGeom>
        </p:spPr>
      </p:pic>
      <p:pic>
        <p:nvPicPr>
          <p:cNvPr id="12" name="Picture 11" descr="A person wearing a hat&#10;&#10;Description automatically generated with low confidence">
            <a:extLst>
              <a:ext uri="{FF2B5EF4-FFF2-40B4-BE49-F238E27FC236}">
                <a16:creationId xmlns:a16="http://schemas.microsoft.com/office/drawing/2014/main" id="{51BF93FB-67CC-AB45-8F7F-896B8D199EF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2992" y="396682"/>
            <a:ext cx="3656002" cy="6440051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A489385-8E1D-F44F-AA67-025F1040A8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3805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98AF792-8FA8-490C-A12A-00B7F7C25E35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8FFFC91-7B2C-4594-BBB8-5279D017364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2554024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  <p15:guide id="13" pos="3840">
          <p15:clr>
            <a:srgbClr val="FBAE4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- Phot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6B00F83-3660-194B-97E0-4599783E67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881BD6-5C0C-4CDA-94FE-9534E908DD6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C31686-0601-49A1-A560-B36639F0D21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24F9840-9E8F-43BB-876D-6619929D9C3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813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- Phot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5E62AD0-7492-9248-A420-17A87723997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3810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345161-A988-430F-8F5D-2140002DC367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D2F956-51D0-4CEA-A8C6-557C9124840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DF408AB-69B0-441A-9B12-C7BA9415306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1729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6B624A7-6C4C-4B8C-B311-91708EF3AD8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97C293-4151-4F45-BEFC-FBBBEE255F6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27C9290-886E-4D7E-9009-0ACD4751EE4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671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64CFA36-6835-0746-9840-0E0BCAB2C9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516909-E1B2-444A-B3A8-7FCD52854FA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4AB5A1-60F2-4271-9FAC-E31461C114A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86E6A59-D2EF-466D-A88F-3B7C0E9FCDF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86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E1D89F0-AB54-E544-B426-C59272FE43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611252"/>
            <a:ext cx="5784219" cy="1817748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112A3CB-66FF-49A9-9F83-DC384BD34AB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71590D-A924-4EC3-8C0E-CF38A11B8CCB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01E167C1-AF1A-49C1-B2DA-711E50FCCAD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9669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A4E5295-54E4-5142-89B4-6296C4B8CF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38F4279-0F64-1745-A6B8-C2704BC5A301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-830952" y="457200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63AACBE6-E182-6345-AFB0-E51AFD9846EE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10741427" y="3920825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B2706E-392F-4651-A72C-C804CD1AD8B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0567C7-587B-4D80-9DC9-AE3BEC155FE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270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Quote - Photo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F536B2A-9621-8D43-9647-6BD326BB0E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F7283E-B18E-4891-9644-6A173F99F93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B3F41F-14AC-40D6-B66D-AAEADBE8496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D6FC2312-8932-4742-9352-D9582897CC1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701758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8D7751A-3D2C-4958-8F3D-7FD3A46C34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933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2" imgH="378" progId="TCLayout.ActiveDocument.1">
                  <p:embed/>
                </p:oleObj>
              </mc:Choice>
              <mc:Fallback>
                <p:oleObj name="think-cell Slide" r:id="rId3" imgW="382" imgH="3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8D7751A-3D2C-4958-8F3D-7FD3A46C34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C2B55CED-442B-411B-B70F-3E692974BDCB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F768C6C-CF58-204D-9B49-15E274BCFB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533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C770A6F-4F30-4069-B2E6-125B0281942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512FA1-C9F4-4FC5-8840-41326195738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2FD0776-1F23-4D62-9F8D-E0CA57957C9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076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8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34E0250-7EA6-A14E-85A2-70CC7AF598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FB486BD-B31D-2746-A2D9-D74A5612C6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9B97EB1-495E-7643-8ACA-13F7587376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F19189A-A764-4CE4-921D-ADE60F58015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1" y="647446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1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C9001175-7075-1645-A2F8-5CFF254A79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4098631"/>
            <a:ext cx="5486400" cy="255210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For more information, please contact: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7BDC76E-3EAD-FF42-A2C0-030580EC536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600" y="4456611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31DD59B-560C-1E42-BC4F-D82BCCB9388E}"/>
              </a:ext>
            </a:extLst>
          </p:cNvPr>
          <p:cNvCxnSpPr>
            <a:cxnSpLocks/>
          </p:cNvCxnSpPr>
          <p:nvPr/>
        </p:nvCxnSpPr>
        <p:spPr>
          <a:xfrm>
            <a:off x="609600" y="4369549"/>
            <a:ext cx="5283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038108E8-A91B-544B-AE58-E579F97F32F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60494" y="4456611"/>
            <a:ext cx="5321905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92F71DB-5BDC-4740-BCA4-437EB0A68AB1}"/>
              </a:ext>
            </a:extLst>
          </p:cNvPr>
          <p:cNvCxnSpPr>
            <a:cxnSpLocks/>
          </p:cNvCxnSpPr>
          <p:nvPr/>
        </p:nvCxnSpPr>
        <p:spPr>
          <a:xfrm>
            <a:off x="6260496" y="4369549"/>
            <a:ext cx="5321905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8DC9CEBF-A997-3847-A730-F505EFD8210D}"/>
              </a:ext>
            </a:extLst>
          </p:cNvPr>
          <p:cNvSpPr txBox="1">
            <a:spLocks/>
          </p:cNvSpPr>
          <p:nvPr/>
        </p:nvSpPr>
        <p:spPr>
          <a:xfrm>
            <a:off x="609600" y="2335492"/>
            <a:ext cx="10972800" cy="1318883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Visa Dialect Medium" pitchFamily="2" charset="0"/>
                <a:ea typeface="+mj-ea"/>
                <a:cs typeface="+mj-cs"/>
              </a:defRPr>
            </a:lvl1pPr>
          </a:lstStyle>
          <a:p>
            <a:r>
              <a:rPr lang="en-US" sz="8000" spc="-150"/>
              <a:t>Thank you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93703EF-3215-7C4F-9099-263CB544039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13" name="Picture 12" descr="Background pattern, rectangle&#10;&#10;Description automatically generated">
            <a:extLst>
              <a:ext uri="{FF2B5EF4-FFF2-40B4-BE49-F238E27FC236}">
                <a16:creationId xmlns:a16="http://schemas.microsoft.com/office/drawing/2014/main" id="{1158DE16-2738-D94E-92CB-790882C8E9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72438FC-1EF6-4544-9CC6-2A755FA71C2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9F5E8F3-335C-4384-B1FF-B8461A4CD16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76B1A94-9885-4083-B250-B2F8FCFE31F0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05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44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560">
          <p15:clr>
            <a:srgbClr val="FBAE4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Quote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0C35452-CE92-4041-B1AB-4652EFF98AA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22A93CE-8ECC-45F5-AEF3-66B86A05880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4ADE85-FE04-4C1D-A0E3-C416257E524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26113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Quote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DFA0D9A1-9E83-48FE-BA25-BF5B3FC5241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AF825AC-87A8-4DE1-883F-A7D4E837D14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9" name="Picture 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4C178F04-8C13-4DD6-BAE5-DE0ED7BE499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A6CFD8C-17D1-4CF1-8DC5-0B8EBD70374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ED8F4C4-5704-49EA-A065-468B22A46110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267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956CE09-72E4-4F2E-BB26-6A8A49D6757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4C3246-B392-4150-9B5C-C1BCC3CEDEE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368181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160D80-66DD-46E8-A1A8-3B4B3B81CA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3452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160D80-66DD-46E8-A1A8-3B4B3B81C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04A35BE-3B8F-4F3E-B795-82BFC49D771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err="1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0B54B57D-4A13-4469-9179-52A8E144AA4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68"/>
            <a:ext cx="10669590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3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3647834"/>
      </p:ext>
    </p:extLst>
  </p:cSld>
  <p:clrMapOvr>
    <a:masterClrMapping/>
  </p:clrMapOvr>
  <p:hf sldNum="0" hdr="0" dt="0"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07C03D-C54D-40F9-AE6B-95171A2610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4DB319-1DBD-4158-A53E-69B8D62FFA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F822C-F838-414C-BE88-4C36BDF8A5E0}" type="datetimeFigureOut">
              <a:rPr lang="en-US" smtClean="0"/>
              <a:t>8/12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8DD8B8A-BE34-4A8E-84DB-6FB75CE4C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D4E8CF-5B8A-42F4-ADE9-A702385467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492218"/>
      </p:ext>
    </p:extLst>
  </p:cSld>
  <p:clrMapOvr>
    <a:masterClrMapping/>
  </p:clrMapOvr>
  <p:hf sldNum="0" hdr="0" dt="0"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846BCC25-AC44-4BFA-A151-4070B551A0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889" y="1524000"/>
            <a:ext cx="11293841" cy="4572000"/>
          </a:xfrm>
        </p:spPr>
        <p:txBody>
          <a:bodyPr wrap="square"/>
          <a:lstStyle>
            <a:lvl1pPr marL="227013" marR="0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71500" marR="0" indent="-225425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200"/>
              </a:spcAft>
              <a:buClr>
                <a:srgbClr val="5C5C5C"/>
              </a:buClr>
              <a:buSzTx/>
              <a:buFont typeface="Calibri" panose="020F0502020204030204" pitchFamily="34" charset="0"/>
              <a:buChar char="─"/>
              <a:tabLst/>
              <a:defRPr/>
            </a:lvl2pPr>
            <a:lvl3pPr marL="801688" marR="0" indent="-17621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5C5C5C"/>
              </a:buClr>
              <a:buSzTx/>
              <a:buFont typeface="Arial" panose="020B0604020202020204" pitchFamily="34" charset="0"/>
              <a:buChar char="•"/>
              <a:tabLst/>
              <a:defRPr lang="en-US" sz="1800" kern="1200" noProof="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lvl4pPr>
          </a:lstStyle>
          <a:p>
            <a:pPr marL="227013" marR="0" lvl="0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227013" marR="0" lvl="1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227013" marR="0" lvl="2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227013" marR="0" lvl="3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F7810EDF-A4C7-49A3-A75F-9BF5A43AA89C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69"/>
            <a:ext cx="10669590" cy="38100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000" b="0" dirty="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227013" lvl="0" indent="-227013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4264BDF-3199-4030-97AE-11E54CC5E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ubtitle 1">
            <a:extLst>
              <a:ext uri="{FF2B5EF4-FFF2-40B4-BE49-F238E27FC236}">
                <a16:creationId xmlns:a16="http://schemas.microsoft.com/office/drawing/2014/main" id="{63B34DA0-1F00-4816-88BC-EF46999D46D7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888" y="6132296"/>
            <a:ext cx="11185127" cy="107722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</p:spTree>
    <p:extLst>
      <p:ext uri="{BB962C8B-B14F-4D97-AF65-F5344CB8AC3E}">
        <p14:creationId xmlns:p14="http://schemas.microsoft.com/office/powerpoint/2010/main" val="2885593155"/>
      </p:ext>
    </p:extLst>
  </p:cSld>
  <p:clrMapOvr>
    <a:masterClrMapping/>
  </p:clrMapOvr>
  <p:hf sldNum="0" hdr="0" dt="0"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66BDB3E-4F1B-4982-8BF9-AA6B1F1569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1995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66BDB3E-4F1B-4982-8BF9-AA6B1F1569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336C443-77E6-4A75-B607-C9BA335CB0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889" y="6453308"/>
            <a:ext cx="11185127" cy="10772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  <a:latin typeface="Segoe UI "/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>
            <a:lvl1pPr>
              <a:defRPr sz="28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433588"/>
      </p:ext>
    </p:extLst>
  </p:cSld>
  <p:clrMapOvr>
    <a:masterClrMapping/>
  </p:clrMapOvr>
  <p:hf sldNum="0" hdr="0" dt="0"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888" y="6132296"/>
            <a:ext cx="11185127" cy="107722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0902815"/>
      </p:ext>
    </p:extLst>
  </p:cSld>
  <p:clrMapOvr>
    <a:masterClrMapping/>
  </p:clrMapOvr>
  <p:hf sldNum="0" hdr="0" dt="0"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39337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ED51B5-9107-44F8-8ED0-1DB5982AF25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err="1">
              <a:latin typeface="Segoe UI Light" panose="020B0502040204020203" pitchFamily="34" charset="0"/>
              <a:ea typeface="+mj-ea"/>
              <a:cs typeface="Segoe UI Light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0"/>
            <a:ext cx="11582400" cy="366254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188720"/>
            <a:ext cx="11582400" cy="1854867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050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Text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EF2D28D-835D-674E-9C16-1E2C9608E6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63B2BCD-5F69-8D43-8F89-629C13FC6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ECA1875B-428C-074B-81DA-1C09468F0A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C66E040-CDDF-4981-B492-7556061A71A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1" y="647446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370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45919AD-36C2-4214-89C4-F6CAFE1A95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D64FBC7-0348-4FCB-B4CC-B3EBB783480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</p:spTree>
    <p:extLst>
      <p:ext uri="{BB962C8B-B14F-4D97-AF65-F5344CB8AC3E}">
        <p14:creationId xmlns:p14="http://schemas.microsoft.com/office/powerpoint/2010/main" val="2258433401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­ - Illustration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B980B98-A2F2-104F-B1F3-4969CC3C5AC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54240" y="2776810"/>
            <a:ext cx="4431429" cy="329931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ABED557-8CCF-4E06-A4B0-138D63BEA5F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B2E44F33-678A-47EA-AC07-88FFA812975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990691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­ - B2B imagery -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Picture 10" descr="Background pattern, rectangle&#10;&#10;Description automatically generated">
            <a:extLst>
              <a:ext uri="{FF2B5EF4-FFF2-40B4-BE49-F238E27FC236}">
                <a16:creationId xmlns:a16="http://schemas.microsoft.com/office/drawing/2014/main" id="{531B1FD9-0074-469F-8AE7-E606DAD866B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6929856F-DABF-471F-8B38-2526EC3ED5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C1AA3B56-2388-49CA-AD18-833EC835425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107386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­ - B2B imagery -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Picture 10" descr="Background pattern, rectangle&#10;&#10;Description automatically generated">
            <a:extLst>
              <a:ext uri="{FF2B5EF4-FFF2-40B4-BE49-F238E27FC236}">
                <a16:creationId xmlns:a16="http://schemas.microsoft.com/office/drawing/2014/main" id="{7FD18B49-0479-4CF3-89E4-5BDC364D67A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4CB7C099-CC69-4D83-991F-6E38857EB54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FE6DB80F-96E5-44B2-B38D-57C87BFDD9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749261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­ - Big Type - with Ic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076C857-6C05-8E4F-89DE-4C6A9CEA50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B4CD84E1-A716-784A-BEDC-3F776D13EC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5F9A24A-091B-1847-A8CD-FA05E6DF03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8FA1B8AC-487C-49C6-B84A-CD69B74EDED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208008" y="3835908"/>
            <a:ext cx="2374392" cy="237439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D319C69-C7DB-B842-A288-4B78C966A26E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94403A-163E-2F49-B354-92394604048F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DC265AB-EBB4-4A26-83CD-9770E18E9B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7" name="Rectangle 82">
            <a:extLst>
              <a:ext uri="{FF2B5EF4-FFF2-40B4-BE49-F238E27FC236}">
                <a16:creationId xmlns:a16="http://schemas.microsoft.com/office/drawing/2014/main" id="{677ADEC4-2706-4062-A5A4-0408C76D9C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777232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­ - Big Typ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FAEF6FF-624F-F941-8333-F016E751BE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E27E99B-5241-0942-B27C-8DC37A0E3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8F6A2D3-237C-B142-BB6C-D1D674B692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E83F0A4-A2E0-234F-9735-E801C5099329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5DD0A7-9B3F-B445-B3E3-DCBA18FD6920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E74BCA9-4EC7-4DCA-BB36-2BA3463C36A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B0957394-30D0-4716-A027-B93A302A273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763472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­ - Big Type - VBM+Symb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653EF4D2-FA1F-824F-9159-013422D09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accent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D0E9125-603C-FE4B-9FE5-B2CDA2CFBD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75FF374-CE84-874F-AD2F-DEC1ADE14B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0F52965-CEEE-2C41-AD99-92F2BDAE8021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E4A174-513B-AF43-8972-1BF7BACDE2E4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2">
            <a:extLst>
              <a:ext uri="{FF2B5EF4-FFF2-40B4-BE49-F238E27FC236}">
                <a16:creationId xmlns:a16="http://schemas.microsoft.com/office/drawing/2014/main" id="{D569423D-2F88-426D-B662-3E29CF5B8F4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7E2C032-B12D-4BA9-A8E5-489BAD92E17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084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B023C5D-F5CC-44FA-834F-43851B9A10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43EE40-5826-477B-BEEF-B50E81BADC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3463FD-6F8E-41D2-B867-102704C5E9FC}"/>
              </a:ext>
            </a:extLst>
          </p:cNvPr>
          <p:cNvCxnSpPr>
            <a:cxnSpLocks/>
          </p:cNvCxnSpPr>
          <p:nvPr userDrawn="1"/>
        </p:nvCxnSpPr>
        <p:spPr>
          <a:xfrm>
            <a:off x="6096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843B257-7F12-4633-9525-3B6D2C5C29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884D96D-3DE4-40B0-90D8-B5918CF1D0E8}"/>
              </a:ext>
            </a:extLst>
          </p:cNvPr>
          <p:cNvCxnSpPr>
            <a:cxnSpLocks/>
          </p:cNvCxnSpPr>
          <p:nvPr/>
        </p:nvCxnSpPr>
        <p:spPr>
          <a:xfrm>
            <a:off x="3454400" y="2521444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5176D7D-6355-4FF3-9137-FC5B3D8B65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5426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7B4ED28-009B-4D27-8603-E737D3353D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2F40EFA-7CFE-412F-9670-84A0FD0AAAD2}"/>
              </a:ext>
            </a:extLst>
          </p:cNvPr>
          <p:cNvCxnSpPr>
            <a:cxnSpLocks/>
          </p:cNvCxnSpPr>
          <p:nvPr/>
        </p:nvCxnSpPr>
        <p:spPr>
          <a:xfrm>
            <a:off x="90932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0EAEBC3-D403-4863-B94C-5BA28D11A2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0BF9787-757D-4D4A-9D39-36E4F20150F8}"/>
              </a:ext>
            </a:extLst>
          </p:cNvPr>
          <p:cNvCxnSpPr>
            <a:cxnSpLocks/>
          </p:cNvCxnSpPr>
          <p:nvPr userDrawn="1"/>
        </p:nvCxnSpPr>
        <p:spPr>
          <a:xfrm>
            <a:off x="6096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39AED03-861E-49F5-9486-9875D7F325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54400" y="3962591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6A4D639-35EE-4A75-9D5D-F5D68D810241}"/>
              </a:ext>
            </a:extLst>
          </p:cNvPr>
          <p:cNvCxnSpPr>
            <a:cxnSpLocks/>
          </p:cNvCxnSpPr>
          <p:nvPr/>
        </p:nvCxnSpPr>
        <p:spPr>
          <a:xfrm>
            <a:off x="3454400" y="4916821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191B399-15E8-4E18-95CE-9D88E07F66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5423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9BE4E74-7BEC-498B-AB83-0C7C20ED890A}"/>
              </a:ext>
            </a:extLst>
          </p:cNvPr>
          <p:cNvCxnSpPr>
            <a:cxnSpLocks/>
          </p:cNvCxnSpPr>
          <p:nvPr/>
        </p:nvCxnSpPr>
        <p:spPr>
          <a:xfrm>
            <a:off x="6295423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92CC6EC-3B35-4B15-8ECF-71827B4F797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932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A28FED9-B6B8-4348-BFC2-E292A6FB0FCF}"/>
              </a:ext>
            </a:extLst>
          </p:cNvPr>
          <p:cNvCxnSpPr>
            <a:cxnSpLocks/>
          </p:cNvCxnSpPr>
          <p:nvPr/>
        </p:nvCxnSpPr>
        <p:spPr>
          <a:xfrm>
            <a:off x="90932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Content Placeholder 2">
            <a:extLst>
              <a:ext uri="{FF2B5EF4-FFF2-40B4-BE49-F238E27FC236}">
                <a16:creationId xmlns:a16="http://schemas.microsoft.com/office/drawing/2014/main" id="{11899807-858E-4003-8BDF-4015E542845B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609600" y="2643202"/>
            <a:ext cx="247828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6" name="Content Placeholder 2">
            <a:extLst>
              <a:ext uri="{FF2B5EF4-FFF2-40B4-BE49-F238E27FC236}">
                <a16:creationId xmlns:a16="http://schemas.microsoft.com/office/drawing/2014/main" id="{8713D4C8-925C-4E15-9DF9-AB425817C32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454400" y="2643208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7" name="Content Placeholder 2">
            <a:extLst>
              <a:ext uri="{FF2B5EF4-FFF2-40B4-BE49-F238E27FC236}">
                <a16:creationId xmlns:a16="http://schemas.microsoft.com/office/drawing/2014/main" id="{7EDB3C1E-C224-4411-B608-25ABA2658B70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6295426" y="2643202"/>
            <a:ext cx="2489197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8" name="Content Placeholder 2">
            <a:extLst>
              <a:ext uri="{FF2B5EF4-FFF2-40B4-BE49-F238E27FC236}">
                <a16:creationId xmlns:a16="http://schemas.microsoft.com/office/drawing/2014/main" id="{601DD3FF-8D08-49F7-97A5-81CD5390891E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9093200" y="2643202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9" name="Content Placeholder 2">
            <a:extLst>
              <a:ext uri="{FF2B5EF4-FFF2-40B4-BE49-F238E27FC236}">
                <a16:creationId xmlns:a16="http://schemas.microsoft.com/office/drawing/2014/main" id="{E6F0E1CC-E3A5-476C-B9BD-8E55B73C912E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09600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Content Placeholder 2">
            <a:extLst>
              <a:ext uri="{FF2B5EF4-FFF2-40B4-BE49-F238E27FC236}">
                <a16:creationId xmlns:a16="http://schemas.microsoft.com/office/drawing/2014/main" id="{6CA859C0-8CC8-4AD9-A9BC-64F1FC91D711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454400" y="5024160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1" name="Content Placeholder 2">
            <a:extLst>
              <a:ext uri="{FF2B5EF4-FFF2-40B4-BE49-F238E27FC236}">
                <a16:creationId xmlns:a16="http://schemas.microsoft.com/office/drawing/2014/main" id="{BBD7B664-2D47-45FC-8170-499D24E52CD3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6295423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2" name="Content Placeholder 2">
            <a:extLst>
              <a:ext uri="{FF2B5EF4-FFF2-40B4-BE49-F238E27FC236}">
                <a16:creationId xmlns:a16="http://schemas.microsoft.com/office/drawing/2014/main" id="{7C76208B-5543-46CF-A9E2-FACFA2214379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9089423" y="5007399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1B229B7-1E51-4DB5-8A87-EA006CA75597}"/>
              </a:ext>
            </a:extLst>
          </p:cNvPr>
          <p:cNvCxnSpPr>
            <a:cxnSpLocks/>
          </p:cNvCxnSpPr>
          <p:nvPr userDrawn="1"/>
        </p:nvCxnSpPr>
        <p:spPr>
          <a:xfrm>
            <a:off x="6295426" y="2521444"/>
            <a:ext cx="248919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 descr="Logo&#10;&#10;Description automatically generated">
            <a:extLst>
              <a:ext uri="{FF2B5EF4-FFF2-40B4-BE49-F238E27FC236}">
                <a16:creationId xmlns:a16="http://schemas.microsoft.com/office/drawing/2014/main" id="{BEC567DB-456B-4C04-85C5-43BB83555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D076AD15-8A80-4D5C-99D2-930048D9981A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CA210-CD82-4973-86C5-C81EDE5EA833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3" name="Rectangle 82">
            <a:extLst>
              <a:ext uri="{FF2B5EF4-FFF2-40B4-BE49-F238E27FC236}">
                <a16:creationId xmlns:a16="http://schemas.microsoft.com/office/drawing/2014/main" id="{6B9A56F8-EB09-4F40-91B6-8D1D2F55308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1A738C1A-312C-4A5E-B567-CBA919874D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179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84">
          <p15:clr>
            <a:srgbClr val="FBAE40"/>
          </p15:clr>
        </p15:guide>
        <p15:guide id="16" pos="3744">
          <p15:clr>
            <a:srgbClr val="FBAE40"/>
          </p15:clr>
        </p15:guide>
        <p15:guide id="17" pos="3960">
          <p15:clr>
            <a:srgbClr val="FBAE40"/>
          </p15:clr>
        </p15:guide>
        <p15:guide id="18" pos="5520">
          <p15:clr>
            <a:srgbClr val="FBAE40"/>
          </p15:clr>
        </p15:guide>
        <p15:guide id="19" pos="573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6B01A99-F0E4-4F6A-9814-CECDD9DC96F6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38B7B0-D097-7C40-B18F-DF9854A1FD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1600200"/>
            <a:ext cx="8155179" cy="3714750"/>
          </a:xfr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Visa Dialect Regular 18pt</a:t>
            </a:r>
          </a:p>
          <a:p>
            <a:pPr lvl="0"/>
            <a:r>
              <a:rPr lang="en-US"/>
              <a:t>Items are automatically numbered</a:t>
            </a:r>
          </a:p>
          <a:p>
            <a:pPr lvl="0"/>
            <a:r>
              <a:rPr lang="en-US"/>
              <a:t>If needed, use the Numbering button on the Home tab to turn off numbers.</a:t>
            </a:r>
          </a:p>
          <a:p>
            <a:pPr lvl="0"/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51B0AD-0CB2-A048-A80E-79B8AB9DC5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AF40C379-F42C-48E2-9BF6-F41A857ED5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902A4BD-9D83-44B2-ACE3-88F0098F3774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D9AF42-CC7A-4B9F-B211-4FF9B1A9EA79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5" name="Rectangle 82">
            <a:extLst>
              <a:ext uri="{FF2B5EF4-FFF2-40B4-BE49-F238E27FC236}">
                <a16:creationId xmlns:a16="http://schemas.microsoft.com/office/drawing/2014/main" id="{F4323786-EA2E-40B7-B647-9949EA1B9B6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CCA81A6E-0CF0-4338-B8B5-E72C667E63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239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pos="5520">
          <p15:clr>
            <a:srgbClr val="FBAE40"/>
          </p15:clr>
        </p15:guide>
        <p15:guide id="22" pos="5736">
          <p15:clr>
            <a:srgbClr val="FBAE4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B796B2-E9E7-4A1D-AD60-1EB8C21CF2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B3BD4A8-0E52-4FFD-81E5-4667BBF1EFC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B95E950-296F-E542-B8F2-E86E8C26F9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341839-DFD3-DC46-B0B1-748514F6A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1E25E2-478B-4A61-B489-BCCB76E32FAB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D9929F-8F44-4512-A3C5-4A94AA39173E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587FB0F-0E7B-49AB-95F9-0BE1492C27B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A225AB9E-6270-411B-BA41-FE4DC155E9D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4037035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&amp;A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2231C69-E75F-4165-9E55-45B24472FD2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1" y="647446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4851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8A5BA51-F084-46F7-93C2-7B53463A69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8FFAC3C-0074-FE4C-A801-A8774F5415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EA814F0-7225-EE49-AEEB-8D88CDE9E2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8E4219-BF8A-EF4A-A133-8697CB3D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9DDFC30-4C35-4FFE-B78F-CC6778ACBCB1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8ED936E-64AB-439B-98BB-2235A783FB7C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A2422CE-195E-4DA5-9984-0FE3619373F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710D1EF4-44F9-49FB-BA15-FDE8DBFE38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4047159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19E6CA2-344D-4DE3-AED7-2763D00E6F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5B45E48-5A8A-7C43-968E-E1237A2CF6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E458D01-2E76-4D49-95E3-8329F9C32E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821AC90-4858-944A-AAA3-8FB5B5B21A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1F327F-1FC5-4766-BD46-CC371BD2A4C4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564589-4D8E-4B07-B6EF-C13FC69FF198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5E9EB26-B07A-4858-8583-AA49119DFAF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D9CB0298-1E33-4FE2-B7BD-6E00FE1A26E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095578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0CB6150-C0E7-4A2D-82C2-2A7C8BF43A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CB1B974-08D3-AB49-86CE-CCE82104A9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DFFAE56-C962-6C4A-AD68-F109E1F4C0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67E79CE-AD17-A442-A7EE-EEA5858FBA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D4241A-A15C-479B-B2A0-F40EAD458532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0CD241-C7A6-4F00-9726-06138E6089BD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91C7B16-958E-4EBE-AC41-B49A60AA54D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2479FC45-EBBC-4782-87D2-86608560F9C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717482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7BAF715-EBE8-446C-91FD-813ACDD79F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77865E-7ADA-7C48-AC7C-7BD23AFA87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B5A86F8-9249-2941-BCE8-3144DCB36D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B89671E-C5A3-AC49-961F-0681EA7A7A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00655D-D26A-4756-9390-58205F822B26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771495-DD2C-4133-A19E-D2FC4E0161A8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65242E3-D0EC-4498-BC2E-BA974FBDAA9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7E607763-3821-420C-ACA3-5EC3B11F88E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853167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10B0A4C-A4E3-4EFF-811D-C8F7F71DDA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3B9DD37-5DFE-4A41-8FA8-34800D0AD8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CC9C687-5164-DD4B-905F-8D9278B64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1DCF08D-7562-D34D-A3B4-44FC665F46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89084A-677C-4667-80CD-ACE9A503F27A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18D356-C67E-4C15-9A94-5289D723453D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28CE00D-241A-4667-ADFB-106FE417DD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C0EA51A1-56A3-4324-9B20-1DC16E95347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92894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882F6FB-6C88-4EEE-9198-A9B87177A1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5156B22-A2E9-B341-8510-C9C5982CFD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0F1350D-FD1E-384F-BE94-2292ED259F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64FC454-9417-9341-BB90-0BEC752290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6F9526-02BF-4F7A-B3A0-57215B91A513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D776A7-A108-4986-8E36-1A1B07036F57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E30A2C6-3416-414C-A125-983540B4A5B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E1592E0D-D96C-4EEC-864F-766BBA8B513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934150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FC571ED-58FB-4FE8-A7F4-3671854D656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34E0250-7EA6-A14E-85A2-70CC7AF598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FB486BD-B31D-2746-A2D9-D74A5612C6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9B97EB1-495E-7643-8ACA-13F7587376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DDD1-E673-413B-ABF2-1F205D7C2338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405CC88-5C99-4116-8382-D1031391C5A3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BD336C-4C14-4603-9D44-C23F03FB9AB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5EF51455-186B-4653-A265-9D454538EF3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109125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Text onl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6B6122-7868-471E-9927-60AD162546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EF2D28D-835D-674E-9C16-1E2C9608E6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63B2BCD-5F69-8D43-8F89-629C13FC6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ECA1875B-428C-074B-81DA-1C09468F0A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4CF6F7F-687B-4B57-8E8F-5B349EA3B326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5263A8-6FCF-4763-8B81-709E07B35998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28DEC49-3A24-4F15-BA2F-3FF11C8816D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4E66CCDB-3D15-42FC-8F6F-2697B9D6A01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988082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0C7A211-453E-4D0B-AEB3-1E2206B264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A96E994-B347-4526-B8DE-2F0DEE90471C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9A7E0F-7DCB-4BBC-8865-65F8E448C5EE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5C50D10-4CF2-456D-9012-B0BDC5857F2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9" name="Rectangle 82">
            <a:extLst>
              <a:ext uri="{FF2B5EF4-FFF2-40B4-BE49-F238E27FC236}">
                <a16:creationId xmlns:a16="http://schemas.microsoft.com/office/drawing/2014/main" id="{E7DDB7CD-21A1-4A4A-9949-0FFCAC055BE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717186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 - Whit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ED1F4B8-24E0-4ED5-9093-8C027FEFB1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65FE600-6E90-41CA-925C-7248AED93E61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115DBC-2B4F-4AA2-867E-80D7D554C07C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6" name="Rectangle 82">
            <a:extLst>
              <a:ext uri="{FF2B5EF4-FFF2-40B4-BE49-F238E27FC236}">
                <a16:creationId xmlns:a16="http://schemas.microsoft.com/office/drawing/2014/main" id="{CDDE597F-BAEB-47E8-867F-ACD8DECD92B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4C021FF-E312-4A2C-A51C-EF33A327608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048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&amp;A - Whit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4619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C5491B-186C-45A5-B417-7EBC81686C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2066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C5491B-186C-45A5-B417-7EBC81686C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701F9548-162A-4715-BBDE-BD262EE6732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5B0F3AB-1D3B-49D8-9299-CC0116B50C6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22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758486E-05AA-4AD1-B733-22E51EAFB5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1709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758486E-05AA-4AD1-B733-22E51EAFB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45919AD-36C2-4214-89C4-F6CAFE1A95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073FB1A2-EA14-4F6C-86F9-FD497A30345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0AEBB67-1858-8045-8897-E60ACC3C616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4826C0C-2EDB-488A-8715-85AF64027CCD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785AC-4A3E-4F1C-B384-9A61E41DFD20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0" name="Rectangle 82">
            <a:extLst>
              <a:ext uri="{FF2B5EF4-FFF2-40B4-BE49-F238E27FC236}">
                <a16:creationId xmlns:a16="http://schemas.microsoft.com/office/drawing/2014/main" id="{9F5F2119-7601-40C9-87DF-B2193F30F8D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FB63FD8-0758-4631-A48E-FC82B0F293A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087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  <p15:guide id="5" pos="5736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98D36F9-ABDD-4FE9-82E9-ABF2DC35E2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3185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98D36F9-ABDD-4FE9-82E9-ABF2DC35E2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58AFA770-D7F0-4D2B-A47E-E283C9FBB13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0751AB5-BCE2-3A48-AB2B-81D2957752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4009E6-8C8C-4F63-8386-915350D1F6BB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3475BE-34FA-478E-A50B-B89C4195AD52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03A7B655-B37E-46E5-802C-742A2A25DE2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6C247F9-3C5B-40D1-B172-8C1001C6650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538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 -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0DCF92-60F0-42CE-B73A-BD70FAD440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1541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0DCF92-60F0-42CE-B73A-BD70FAD440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58AFA770-D7F0-4D2B-A47E-E283C9FBB13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01841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0751AB5-BCE2-3A48-AB2B-81D2957752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4009E6-8C8C-4F63-8386-915350D1F6BB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3475BE-34FA-478E-A50B-B89C4195AD52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BBFFB18F-502B-4620-8EBB-ADDCDAFFE00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F3D92FE-9EF1-45FA-83AE-7DEE9BCD7F9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489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</p15:sldGuideLst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14968E-4AF7-485A-AE0A-88D6A23139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278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14968E-4AF7-485A-AE0A-88D6A23139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58AFA770-D7F0-4D2B-A47E-E283C9FBB13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9CE45557-2782-1C4D-9649-89829803926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599" y="1600200"/>
            <a:ext cx="8153401" cy="4610100"/>
          </a:xfrm>
        </p:spPr>
        <p:txBody>
          <a:bodyPr>
            <a:noAutofit/>
          </a:bodyPr>
          <a:lstStyle>
            <a:lvl1pPr marL="230188" indent="-230188">
              <a:lnSpc>
                <a:spcPct val="100000"/>
              </a:lnSpc>
              <a:spcBef>
                <a:spcPts val="1200"/>
              </a:spcBef>
              <a:spcAft>
                <a:spcPts val="800"/>
              </a:spcAft>
              <a:buFont typeface="+mj-lt"/>
              <a:buAutoNum type="arabicPeriod"/>
              <a:tabLst/>
              <a:defRPr sz="1600">
                <a:solidFill>
                  <a:schemeClr val="accent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/>
            </a:lvl2pPr>
            <a:lvl3pPr marL="4572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3pPr>
            <a:lvl4pPr marL="6858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edit numbering text styles</a:t>
            </a:r>
          </a:p>
          <a:p>
            <a:pPr lvl="2"/>
            <a:r>
              <a:rPr lang="en-US"/>
              <a:t>Second bullet level</a:t>
            </a:r>
          </a:p>
          <a:p>
            <a:pPr lvl="3"/>
            <a:r>
              <a:rPr lang="en-US"/>
              <a:t>Third bullet 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9B99707-631C-504C-957F-75DF92D4259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C748D62-F2B5-2B4A-9E6A-987900DA44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809BF2C-89DA-40FC-BDB4-F9F2327BD1B8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B1CCE4-8767-470D-8DDB-B0AB133458C1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C09B0FA0-282F-40CC-85DC-E4A28FCCAF7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35C6D7B-9A5E-4D8D-80FF-834DC52D3DF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791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-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CC2B79-C940-486C-9F3B-BF847107FF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4782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CC2B79-C940-486C-9F3B-BF847107FF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98EDF07-72EA-CE41-A35E-2CE9B7FCED0C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5636F92-56A3-4048-9234-A4D4D6B1402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09600" y="1600200"/>
            <a:ext cx="10972800" cy="4610100"/>
          </a:xfrm>
        </p:spPr>
        <p:txBody>
          <a:bodyPr>
            <a:noAutofit/>
          </a:bodyPr>
          <a:lstStyle>
            <a:lvl1pPr marL="514350" marR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3200" b="0" i="0">
                <a:solidFill>
                  <a:schemeClr val="tx1"/>
                </a:solidFill>
                <a:latin typeface="Visa Dialect Medium" pitchFamily="2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05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05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5pPr>
            <a:lvl6pPr marL="685800" indent="-176213">
              <a:tabLst/>
              <a:defRPr sz="1050"/>
            </a:lvl6pPr>
          </a:lstStyle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  <a:p>
            <a:pPr marL="5143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Second level</a:t>
            </a:r>
          </a:p>
          <a:p>
            <a:pPr marL="514350" marR="0" lvl="2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Third level</a:t>
            </a:r>
          </a:p>
          <a:p>
            <a:pPr marL="514350" marR="0" lvl="3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ourth level</a:t>
            </a:r>
          </a:p>
          <a:p>
            <a:pPr marL="514350" marR="0" lvl="4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ifth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764807F4-3A5E-4790-8BFF-9F75F97358A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A80DBE0-EA23-914C-BE1F-E2E9FA549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71262D7-4155-664A-A7EF-0F6CD92AC9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62BCEA-A68A-4769-B6ED-EF217FA5B7A2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538CD4-8CE7-4DB6-9772-1D3E7895B31A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65FE215-5FF4-864B-8264-06F499FAE80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75D86DC9-F6BA-4387-8C60-CB216A9D65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CE84D87-A172-4A29-9AA7-2E671B4521D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021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C193FF-ACEA-42CA-9D04-5917F77E80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8456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C193FF-ACEA-42CA-9D04-5917F77E80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FAAB2DA0-5560-4CFB-8BB1-FA929156A08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6863A02-5AA9-0045-86B9-CB65111A28F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5B523E-6B9A-3E4C-A8C8-39C38CC0B143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250640" y="1600200"/>
            <a:ext cx="5331759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348177B1-77DF-0E4E-A6DB-F730917346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CA431A8-80BE-3346-AEA4-3FE5EF0F87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D624208-192E-BD42-8C2C-D3FC7AB00F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C0911FF-6A58-4AC3-BA4B-74146AFF60AE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889C50-093C-44CD-9F44-6167FE8E94F6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9" name="Rectangle 82">
            <a:extLst>
              <a:ext uri="{FF2B5EF4-FFF2-40B4-BE49-F238E27FC236}">
                <a16:creationId xmlns:a16="http://schemas.microsoft.com/office/drawing/2014/main" id="{27207AFF-D65F-44BB-ABE6-E36B7498F3A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2C2FAEFA-FA42-4307-98E4-11FC0D3584D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957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5AA687F-0862-4D03-916A-D0C45E91D4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8167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5AA687F-0862-4D03-916A-D0C45E91D4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1EF644C3-BD07-6F42-99C3-8410727AAF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2643202"/>
            <a:ext cx="5283200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CDC8C9A-A5A1-DC44-9C5A-22CFBA39C58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48400" y="2643202"/>
            <a:ext cx="5334003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ED0B6DA-B1AD-8E4B-8D28-00B2D6352F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5283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2A5599-054E-9A4C-941D-DEAF685255BE}"/>
              </a:ext>
            </a:extLst>
          </p:cNvPr>
          <p:cNvCxnSpPr>
            <a:cxnSpLocks/>
          </p:cNvCxnSpPr>
          <p:nvPr userDrawn="1"/>
        </p:nvCxnSpPr>
        <p:spPr>
          <a:xfrm>
            <a:off x="609601" y="2521444"/>
            <a:ext cx="5306479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3914B0B-B3F6-A24C-B306-C2DE3CCFF8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48400" y="1567214"/>
            <a:ext cx="53340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E64FE3A-369E-0945-9952-79DE2D0CB498}"/>
              </a:ext>
            </a:extLst>
          </p:cNvPr>
          <p:cNvCxnSpPr>
            <a:cxnSpLocks/>
          </p:cNvCxnSpPr>
          <p:nvPr userDrawn="1"/>
        </p:nvCxnSpPr>
        <p:spPr>
          <a:xfrm>
            <a:off x="6248400" y="2521444"/>
            <a:ext cx="53340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28027102-0F0C-44D6-B79F-C9D54C4E64B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687A00C-C9A6-DD42-9977-99993E7D4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6398BA2-811F-1C41-BC08-078B116D4ED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28E9757-427C-C249-9F47-223DCD7BF1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5C6B76-F1B3-4070-9AD9-721B1B3B1DD5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467C840-0571-4C02-AAFA-CE700D8B2679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1" name="Rectangle 82">
            <a:extLst>
              <a:ext uri="{FF2B5EF4-FFF2-40B4-BE49-F238E27FC236}">
                <a16:creationId xmlns:a16="http://schemas.microsoft.com/office/drawing/2014/main" id="{835D992A-2A2E-4BE9-ACFF-BD1B9DE11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3A3102B0-7B34-461A-949A-FA77D39AA33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394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A97C854-AA5D-4160-8753-FB537275E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550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A97C854-AA5D-4160-8753-FB537275E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1207722-B163-475D-B601-1EA08B6AAA4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67100" y="1600200"/>
            <a:ext cx="81153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894B221-FC17-F343-84FB-9C6A7B7059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25146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0AFA99D6-3597-42EC-A393-B1F699E91E7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157C6BA9-A888-C046-9D14-AD47E7120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6561AB5-5D81-0845-909C-25323AA17C5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1E59CE0-76E6-D84F-9E45-E33A3094777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70EE53B-2173-45C7-95D3-A8EF5A8655B0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30520A-BC26-4AF2-B7EF-CC50B7B9D867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5" name="Rectangle 82">
            <a:extLst>
              <a:ext uri="{FF2B5EF4-FFF2-40B4-BE49-F238E27FC236}">
                <a16:creationId xmlns:a16="http://schemas.microsoft.com/office/drawing/2014/main" id="{734ABA07-E849-4755-AEBA-D67411DD5FF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FBB3CC5-958D-4B14-96F7-56A70D24D03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005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184">
          <p15:clr>
            <a:srgbClr val="FBAE40"/>
          </p15:clr>
        </p15:guide>
        <p15:guide id="9" pos="1968">
          <p15:clr>
            <a:srgbClr val="FBAE40"/>
          </p15:clr>
        </p15:guide>
      </p15:sldGuideLst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76EFEF-4B84-4297-84E3-6558A8A501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4746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76EFEF-4B84-4297-84E3-6558A8A50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97E3760-1BB7-4A60-8487-48CE1416C62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B38E0FE-FC45-D24E-BA98-E5CF5EA47103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026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DB9E50E-54A6-D849-A7F6-8093341C8184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81872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0838D896-7B63-466B-9032-10DAC8EC8BC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059B729-C6AE-024A-A0B1-CCF305824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E35142D-D790-6240-9E1C-1A74471BC44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6E9EADE-B7E9-1548-BE93-F92FE33A9CC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F424B3-9043-41D5-BB73-D95ECFBE8A52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50AC662-696C-417C-B404-73EAB33987A2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3" name="Rectangle 82">
            <a:extLst>
              <a:ext uri="{FF2B5EF4-FFF2-40B4-BE49-F238E27FC236}">
                <a16:creationId xmlns:a16="http://schemas.microsoft.com/office/drawing/2014/main" id="{71DBFB0C-1ECC-44C0-9D78-9FD9A29ABDF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26EFA58-F5F2-4D22-B97F-A621909A846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53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6001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4092CC5-4CE4-F14D-84E5-84942B23A7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339236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7756ABC-9266-214C-9F7B-E75E6FFA4963}"/>
              </a:ext>
            </a:extLst>
          </p:cNvPr>
          <p:cNvCxnSpPr>
            <a:cxnSpLocks/>
          </p:cNvCxnSpPr>
          <p:nvPr userDrawn="1"/>
        </p:nvCxnSpPr>
        <p:spPr>
          <a:xfrm>
            <a:off x="609601" y="2521444"/>
            <a:ext cx="3407308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9A161FA-C7FD-E645-A03F-D02DE0C8B2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19600" y="1567214"/>
            <a:ext cx="33528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9FB75EC-FDA1-D748-BDFC-0A34683F849E}"/>
              </a:ext>
            </a:extLst>
          </p:cNvPr>
          <p:cNvCxnSpPr>
            <a:cxnSpLocks/>
          </p:cNvCxnSpPr>
          <p:nvPr userDrawn="1"/>
        </p:nvCxnSpPr>
        <p:spPr>
          <a:xfrm>
            <a:off x="4419600" y="2521444"/>
            <a:ext cx="33528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30E2CEF-CCAC-CA4D-933F-027385DC49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78800" y="1567214"/>
            <a:ext cx="34036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6A0D02F-EE42-5B4C-BE0F-181D414229C6}"/>
              </a:ext>
            </a:extLst>
          </p:cNvPr>
          <p:cNvCxnSpPr>
            <a:cxnSpLocks/>
          </p:cNvCxnSpPr>
          <p:nvPr userDrawn="1"/>
        </p:nvCxnSpPr>
        <p:spPr>
          <a:xfrm>
            <a:off x="8178800" y="2521444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6CBFF784-7328-4B09-A4E9-1CD6CA2DDD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E976D561-61ED-9B4A-B630-6E037061A8DD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12104" y="2628900"/>
            <a:ext cx="33527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BEE0402C-E2BF-DB44-AB66-828DA835BF0F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13310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2B04388-6E13-7143-8DB6-9C4E843A0AB8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8184004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318BDE0-5FD0-8D41-B77E-3DF3B75DE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1D12C16-1BB5-BC4F-B6F8-46FB22666D5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32ADFB7F-C7B5-A141-A05E-65D8E762C31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6F590C6-4DDD-48C4-A0F5-A86A02C92416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606489D-F18B-49E7-A430-AF0A802226B8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9" name="Rectangle 82">
            <a:extLst>
              <a:ext uri="{FF2B5EF4-FFF2-40B4-BE49-F238E27FC236}">
                <a16:creationId xmlns:a16="http://schemas.microsoft.com/office/drawing/2014/main" id="{95324C5E-7673-4E81-B854-F9B46F10DC5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2C1E5FC-54B6-4B67-941B-EA369746567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535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1656">
          <p15:clr>
            <a:srgbClr val="FBAE40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11B26AD-209D-4949-99DC-0B68494564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5858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11B26AD-209D-4949-99DC-0B6849456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13DA727-D0B5-5748-84C2-5C350C1088DF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1600200"/>
            <a:ext cx="2489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85C19EA8-0E28-4F5B-8F1D-27DD33CE3D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EA5DA42-0A63-7149-B091-08D10F848F2E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1600200"/>
            <a:ext cx="2432423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ACB33F5F-6A95-C141-A4CB-F1354D41AD3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8CF80BC6-09DE-3740-8861-1869483A0ECD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41518C0-F58C-DA41-8B70-42DC6B9B5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93602B9-7F9B-AE4E-9BAF-34FC72E3CBF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95869B9-14BA-E94B-BFB4-EEEE6C185E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3B37F05-0F07-4AC7-AB0A-840C29CFAD74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F8EB945-89E4-4F5C-AABF-2F9F526C155F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0" name="Rectangle 82">
            <a:extLst>
              <a:ext uri="{FF2B5EF4-FFF2-40B4-BE49-F238E27FC236}">
                <a16:creationId xmlns:a16="http://schemas.microsoft.com/office/drawing/2014/main" id="{8865593A-D405-4DD1-826B-23DB658C4CB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CFD26917-46AC-48E4-A400-D514EE136D9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051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9D25F91-3CBC-4B9A-8B27-2E883B9A04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91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9D25F91-3CBC-4B9A-8B27-2E883B9A04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70B93C1-A913-6949-9E7A-C612BA63F6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66616FA-1027-5A4A-AC2C-E2DC86D90196}"/>
              </a:ext>
            </a:extLst>
          </p:cNvPr>
          <p:cNvCxnSpPr>
            <a:cxnSpLocks/>
          </p:cNvCxnSpPr>
          <p:nvPr userDrawn="1"/>
        </p:nvCxnSpPr>
        <p:spPr>
          <a:xfrm>
            <a:off x="6096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5070E2-249F-2E41-8903-2C611249DB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EB18407-6858-9A4B-92C4-92013BAEACC6}"/>
              </a:ext>
            </a:extLst>
          </p:cNvPr>
          <p:cNvCxnSpPr>
            <a:cxnSpLocks/>
          </p:cNvCxnSpPr>
          <p:nvPr userDrawn="1"/>
        </p:nvCxnSpPr>
        <p:spPr>
          <a:xfrm>
            <a:off x="3454400" y="2521444"/>
            <a:ext cx="24384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A618BCB-5657-E640-B496-300C09D2BD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3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2571815-7AC9-4A48-8176-16337A1C25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8CA6EDF-309F-9C43-88A2-C720D2079C09}"/>
              </a:ext>
            </a:extLst>
          </p:cNvPr>
          <p:cNvCxnSpPr>
            <a:cxnSpLocks/>
          </p:cNvCxnSpPr>
          <p:nvPr userDrawn="1"/>
        </p:nvCxnSpPr>
        <p:spPr>
          <a:xfrm>
            <a:off x="90932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F0A98B5-2885-FC4B-8E93-11E6853D6063}"/>
              </a:ext>
            </a:extLst>
          </p:cNvPr>
          <p:cNvCxnSpPr>
            <a:cxnSpLocks/>
          </p:cNvCxnSpPr>
          <p:nvPr userDrawn="1"/>
        </p:nvCxnSpPr>
        <p:spPr>
          <a:xfrm>
            <a:off x="6248403" y="2521444"/>
            <a:ext cx="2489197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 descr="Logo&#10;&#10;Description automatically generated">
            <a:extLst>
              <a:ext uri="{FF2B5EF4-FFF2-40B4-BE49-F238E27FC236}">
                <a16:creationId xmlns:a16="http://schemas.microsoft.com/office/drawing/2014/main" id="{09356D0A-AA64-4DB5-96FB-8733B828976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1631775-8D64-4341-A917-ACCA02A442D2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2628900"/>
            <a:ext cx="2489200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4E99E6E9-2494-B940-B1EF-092C3EADC772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2628900"/>
            <a:ext cx="2432423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819DCF24-1964-3644-9168-FF49E2A566D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CF5FC023-DCB7-9848-9776-BCD9A603067E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8EC50DE8-D067-984E-9012-11FC27E62E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7D501EE-A03D-D64F-A115-5ECD03AA3F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D59275F-6240-2347-801C-D9B63A23481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CF193E4-ADC4-4233-AEA9-ABE6800A232B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5A837DC-6429-46C6-A734-03312F3E3B07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30" name="Rectangle 82">
            <a:extLst>
              <a:ext uri="{FF2B5EF4-FFF2-40B4-BE49-F238E27FC236}">
                <a16:creationId xmlns:a16="http://schemas.microsoft.com/office/drawing/2014/main" id="{EA550C6F-2DC9-4D86-97C7-E888B0709BB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28DF78A-ACD7-49E6-B3C8-4373BE61BC0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054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7785C2-FFA0-49DC-B7DC-AE8D303A08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5921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7785C2-FFA0-49DC-B7DC-AE8D303A08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0659210-753C-4957-8F25-A4D709FAB681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28DF06C-CFDC-2447-B7D4-E75EC0431F79}"/>
              </a:ext>
            </a:extLst>
          </p:cNvPr>
          <p:cNvCxnSpPr>
            <a:cxnSpLocks/>
          </p:cNvCxnSpPr>
          <p:nvPr userDrawn="1"/>
        </p:nvCxnSpPr>
        <p:spPr>
          <a:xfrm>
            <a:off x="60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F1E348A8-D8AD-8342-95C4-1E731B229D5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636295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BE5757E-813A-8F48-9A5A-EEC1071594D2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45273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7" name="Picture Placeholder 2">
            <a:extLst>
              <a:ext uri="{FF2B5EF4-FFF2-40B4-BE49-F238E27FC236}">
                <a16:creationId xmlns:a16="http://schemas.microsoft.com/office/drawing/2014/main" id="{95C65A02-D19F-294F-BC73-89CD66DB23DC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269171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pic>
        <p:nvPicPr>
          <p:cNvPr id="28" name="Picture 27" descr="Logo&#10;&#10;Description automatically generated">
            <a:extLst>
              <a:ext uri="{FF2B5EF4-FFF2-40B4-BE49-F238E27FC236}">
                <a16:creationId xmlns:a16="http://schemas.microsoft.com/office/drawing/2014/main" id="{D17E29F1-6D41-4628-913F-B22462B1C5B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0C183E4-86E4-6940-9A6D-E9DE7740EFA7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13310" y="3379809"/>
            <a:ext cx="340359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3ECD2BF-4248-F14F-AB63-732DFF2D5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8DA343F-1525-584F-88BA-86B0FE83B43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EE7EA97-253E-FB40-B94E-BE9389B08B5F}"/>
              </a:ext>
            </a:extLst>
          </p:cNvPr>
          <p:cNvCxnSpPr>
            <a:cxnSpLocks/>
          </p:cNvCxnSpPr>
          <p:nvPr userDrawn="1"/>
        </p:nvCxnSpPr>
        <p:spPr>
          <a:xfrm>
            <a:off x="441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BE90A3C5-FAC6-4A4A-B289-095811B7B144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423311" y="3379809"/>
            <a:ext cx="3349090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A926BB4-EEF2-5A49-844D-B93A3BB53E82}"/>
              </a:ext>
            </a:extLst>
          </p:cNvPr>
          <p:cNvCxnSpPr>
            <a:cxnSpLocks/>
          </p:cNvCxnSpPr>
          <p:nvPr userDrawn="1"/>
        </p:nvCxnSpPr>
        <p:spPr>
          <a:xfrm>
            <a:off x="81915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B46288C4-4A89-B443-8199-6DBD23F67C2B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8195210" y="3379809"/>
            <a:ext cx="339988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8D0F15B-D16C-1944-9EC2-DED14D92BDA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2BE0D9F-95D1-4003-A390-8D48D1D36800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FD9C543-41B1-4AA5-9309-C44DBC35EA18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5" name="Rectangle 82">
            <a:extLst>
              <a:ext uri="{FF2B5EF4-FFF2-40B4-BE49-F238E27FC236}">
                <a16:creationId xmlns:a16="http://schemas.microsoft.com/office/drawing/2014/main" id="{DE2DD1E8-5330-413D-9F31-068931B3A24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0FA43899-F5E8-4553-B9A7-947E54FF58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49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2040">
          <p15:clr>
            <a:srgbClr val="FBAE40"/>
          </p15:clr>
        </p15:guide>
      </p15:sldGuideLst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F14404E-AF58-41A3-A587-83BECA8168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5170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F14404E-AF58-41A3-A587-83BECA816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89BE8A8-1D24-0141-85A7-333554C30119}"/>
              </a:ext>
            </a:extLst>
          </p:cNvPr>
          <p:cNvCxnSpPr>
            <a:cxnSpLocks/>
          </p:cNvCxnSpPr>
          <p:nvPr userDrawn="1"/>
        </p:nvCxnSpPr>
        <p:spPr>
          <a:xfrm>
            <a:off x="609600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A0458D0-DECB-7844-94C6-EFB2F9402D5A}"/>
              </a:ext>
            </a:extLst>
          </p:cNvPr>
          <p:cNvCxnSpPr>
            <a:cxnSpLocks/>
          </p:cNvCxnSpPr>
          <p:nvPr userDrawn="1"/>
        </p:nvCxnSpPr>
        <p:spPr>
          <a:xfrm>
            <a:off x="3453977" y="3242438"/>
            <a:ext cx="244368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48E85A-F259-CF49-BE34-708227EC6828}"/>
              </a:ext>
            </a:extLst>
          </p:cNvPr>
          <p:cNvCxnSpPr>
            <a:cxnSpLocks/>
          </p:cNvCxnSpPr>
          <p:nvPr userDrawn="1"/>
        </p:nvCxnSpPr>
        <p:spPr>
          <a:xfrm>
            <a:off x="6257308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8AC0041-3EAA-134B-978F-4B02C0FF045F}"/>
              </a:ext>
            </a:extLst>
          </p:cNvPr>
          <p:cNvCxnSpPr>
            <a:cxnSpLocks/>
          </p:cNvCxnSpPr>
          <p:nvPr userDrawn="1"/>
        </p:nvCxnSpPr>
        <p:spPr>
          <a:xfrm>
            <a:off x="9097177" y="3242438"/>
            <a:ext cx="2489201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94D37605-9A74-406B-A28B-01434EC5358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390D2F0-3AD5-4F47-A10B-E047B365B1A9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3391762"/>
            <a:ext cx="2489200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0399C588-DBAD-2742-B89F-D479F30059DC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3391762"/>
            <a:ext cx="2432423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CB9B4B18-23D4-6E42-8831-4A20A413C64A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7B833A7B-9585-DC41-B130-684A63887C7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9087971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CAA2DFC-CB9D-694C-955F-30EA6BD3C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E065487-BF64-9342-A721-6A8BA2B8CF6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C0303739-0C13-CC4B-8202-FEEEAAB3C12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244600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BC6978E9-423F-9244-9FF8-DCD46EBA565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07379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48D3479E-1D17-DF4D-840E-0E14AA554B7C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902984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95A82027-A669-A245-99A2-2D77B7D1A97E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732177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3DE5F9E-3746-BC42-92AB-FEDCED42D71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DEAD3E0-81AC-41A7-B02C-F7C8E3C276C5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4CA7DE8-127A-4C0C-867D-2DAABF999D8C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34" name="Rectangle 82">
            <a:extLst>
              <a:ext uri="{FF2B5EF4-FFF2-40B4-BE49-F238E27FC236}">
                <a16:creationId xmlns:a16="http://schemas.microsoft.com/office/drawing/2014/main" id="{61E28B04-8472-416E-B22B-550F0097ED1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2BC05130-19EA-4277-8EFF-8F83DF90F8D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878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04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92D46C0-E581-4328-BA0D-DC338A15645F}"/>
              </a:ext>
            </a:extLst>
          </p:cNvPr>
          <p:cNvSpPr/>
          <p:nvPr userDrawn="1"/>
        </p:nvSpPr>
        <p:spPr>
          <a:xfrm>
            <a:off x="-1" y="0"/>
            <a:ext cx="755620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455917-5D69-4B31-B459-CEA3616D55C6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C4B767-72FE-4F41-A667-B94ACBB19DB3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7F4FCB1-DF84-4814-9FFE-5E51FB4667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31B887E-1D14-B443-ACD5-1A404FA009A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8" name="Rectangle 82">
            <a:extLst>
              <a:ext uri="{FF2B5EF4-FFF2-40B4-BE49-F238E27FC236}">
                <a16:creationId xmlns:a16="http://schemas.microsoft.com/office/drawing/2014/main" id="{A9094A23-9529-40F6-8B6B-98D432DA919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8AB3269-A147-4CA5-B240-4B9657711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428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37E9115E-63DF-4133-A626-4F14A7DBBDDE}"/>
              </a:ext>
            </a:extLst>
          </p:cNvPr>
          <p:cNvSpPr/>
          <p:nvPr userDrawn="1"/>
        </p:nvSpPr>
        <p:spPr>
          <a:xfrm>
            <a:off x="0" y="0"/>
            <a:ext cx="181722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455917-5D69-4B31-B459-CEA3616D55C6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C4B767-72FE-4F41-A667-B94ACBB19DB3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634F3A4-2E2A-344D-B907-C0C95A55CA6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5FB4FCC-3325-C845-9B15-E71FF67E5B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Rectangle 82">
            <a:extLst>
              <a:ext uri="{FF2B5EF4-FFF2-40B4-BE49-F238E27FC236}">
                <a16:creationId xmlns:a16="http://schemas.microsoft.com/office/drawing/2014/main" id="{601852A1-73A4-4732-BEB2-AA892565DAB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92AB0B1-437C-42D7-BD80-B4336B7DA4B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589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-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F501665-9204-470A-A37E-30BC35DEBC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8304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F501665-9204-470A-A37E-30BC35DEBC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457200"/>
            <a:ext cx="5334000" cy="5753100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A3EE50D-9DEA-9149-9049-FE0CE78B8409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6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2D5873B9-237F-4029-81C3-7DF4AE7E4F4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507D2AF-B968-8540-AB96-D7091A82A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6C401AA-42D6-3744-80D1-D2B7F64C7D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A396B81-A8CC-6A49-B843-D30A7CDAE7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139E18C-9244-4F8E-8874-0A704B4D19F6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48614B-99AB-4109-AE47-2860B4C761C0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82">
            <a:extLst>
              <a:ext uri="{FF2B5EF4-FFF2-40B4-BE49-F238E27FC236}">
                <a16:creationId xmlns:a16="http://schemas.microsoft.com/office/drawing/2014/main" id="{42A1717F-C6EA-400D-8E10-C6C4E7DCCBE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20B357F-CA40-448C-B1C7-B0455246EF6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98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93A4BC-37E6-4DD2-B7CD-FB49C008A1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6229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93A4BC-37E6-4DD2-B7CD-FB49C008A1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09600" y="1600201"/>
            <a:ext cx="5283200" cy="3145055"/>
          </a:xfrm>
          <a:solidFill>
            <a:schemeClr val="tx2"/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656EAC5-6B5F-4341-86FF-B7369C9AD23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258044" y="1600201"/>
            <a:ext cx="53340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AFFEF14-326C-4366-BE6C-30F2EAEF06F4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FCD28B-5132-4352-9BA2-B2C48B333EB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0" y="4911693"/>
            <a:ext cx="5283200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C7F8A7A-3661-4A31-988A-37E7A64D4614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E7769BF2-3A16-429E-971C-E2ED4641AE3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13355B2A-3761-9B4A-A6CC-D82F751C5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9978769-6475-654F-8177-443C3A323D9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6CC2593-E020-1C41-B3F8-AD259BDD41F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58044" y="4911693"/>
            <a:ext cx="5324355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2626E75-A294-2F49-9D2A-F258BBC50F5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C109CE-3B47-410F-91BB-711F45926B41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5D53B0-AEE2-473F-B917-B8042CA583EF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9" name="Rectangle 82">
            <a:extLst>
              <a:ext uri="{FF2B5EF4-FFF2-40B4-BE49-F238E27FC236}">
                <a16:creationId xmlns:a16="http://schemas.microsoft.com/office/drawing/2014/main" id="{AE31517B-3CE4-4A4E-97D5-9307E6C71AC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58D9A30E-50F8-431F-BBD7-9157F79365F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766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3096">
          <p15:clr>
            <a:srgbClr val="FBAE40"/>
          </p15:clr>
        </p15:guide>
      </p15:sldGuideLst>
    </p:ext>
  </p:extLs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D02D1C7-7C70-4B83-A59F-BDE593306E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2264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D02D1C7-7C70-4B83-A59F-BDE593306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E527502-AB0B-EA4C-93C1-E50D3BB46A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09600" y="1600201"/>
            <a:ext cx="34036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6B953B14-58B5-F64D-856E-665137C4F44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429455" y="1600201"/>
            <a:ext cx="3352801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D14F8D7C-7F6F-6143-9DE4-868B2E38A178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178797" y="1600201"/>
            <a:ext cx="3403603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089D5E7F-92DB-4D31-82AD-6D3677153DC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472EF8D-56BE-AB48-A5F9-187114E95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5C8DF82-7F60-4849-A43B-8F4B9B5F0CA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CDCA026-D514-4D4B-AB98-08252DB87D8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09600" y="4911693"/>
            <a:ext cx="3423314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DF9BFF8-0532-EE45-9739-4B50F601F77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429245" y="4911693"/>
            <a:ext cx="3343155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82BB9B5-C539-B147-9A3E-C09EB047C38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91017" y="4911693"/>
            <a:ext cx="3403603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301442EF-174F-7C4C-948C-81FD2937D96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860610A-3A2F-41F6-A572-17E0B5918ED3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B1B5DF1-398E-4039-9FEB-B800C1345BAB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3" name="Rectangle 82">
            <a:extLst>
              <a:ext uri="{FF2B5EF4-FFF2-40B4-BE49-F238E27FC236}">
                <a16:creationId xmlns:a16="http://schemas.microsoft.com/office/drawing/2014/main" id="{CA8C260F-0CCF-45E2-AF57-3E583D3AE0B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F6E9724B-A7B5-4B2A-8B28-741A3F8BBFA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800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45919AD-36C2-4214-89C4-F6CAFE1A95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D64FBC7-0348-4FCB-B4CC-B3EBB783480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506069-C394-449A-A381-EA5EB93F24B8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3831507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  <p15:guide id="5" pos="5736">
          <p15:clr>
            <a:srgbClr val="FBAE40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- Right Tw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64C95FD-8A01-494E-B6F0-70FC67BF3B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125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64C95FD-8A01-494E-B6F0-70FC67BF3B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56BCCFD-B912-2F49-AE52-7814FFDCB534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832065A-C6D7-614D-A733-535BCA5ADF1B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8"/>
            <a:ext cx="5334000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7C7B404-7F93-AD4C-BE41-E5247D351B57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248399" y="471458"/>
            <a:ext cx="5334001" cy="273196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7B25303E-21E4-4DA8-B538-6050CF5B75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A5108AEE-9096-4643-8AFA-8EFF143BF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7962758-65CF-1D46-ADE8-60345727EDE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62937F0-7412-EA41-B511-EA81EB0FE83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1CFCE6-4389-4631-971B-C5551A0173C9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B961A7C-FF07-4129-BD07-6DC2F260A1DC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82">
            <a:extLst>
              <a:ext uri="{FF2B5EF4-FFF2-40B4-BE49-F238E27FC236}">
                <a16:creationId xmlns:a16="http://schemas.microsoft.com/office/drawing/2014/main" id="{B1B89650-1F66-4052-A9A9-67F248E2A33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11C233F7-CA56-43DD-BA29-A334B67DC02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028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- Right Thre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BE030D-98F6-409F-8016-E2D167B30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858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BE030D-98F6-409F-8016-E2D167B30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90AF7A3C-BA0F-9B49-B1B5-D713C19139C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2"/>
            <a:ext cx="5346192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61755EBA-80EC-6B4F-B350-DC2DD71209FC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455C0536-27A6-644D-8348-9541070F401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248400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B3F5BBC4-47E5-1E46-9E4F-B0D0BB7BAB04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001094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0D0C48DC-3206-40BC-A585-F0FD6F0BB78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38045DB-4C64-CE4D-B8E5-9949681D1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B569F93-B18A-C246-94EF-34A7D4EDD94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42BCFDB-7549-A74E-9341-258E6AB17A0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4E2A106-4F39-4E97-BFB5-DFFCCB4056E0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40BDDF-AEFD-4BE1-9247-7302A27E82D6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0AA8200B-94AD-4E3A-9452-3DA219FF8B3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D9D5722-E9DB-4867-A638-593AAD071CF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755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393D10-AE85-4AA5-A699-5D06948B11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8923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393D10-AE85-4AA5-A699-5D06948B11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248400" y="3308593"/>
            <a:ext cx="5346192" cy="2726853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A2E6023-8A40-1E44-BD81-EED366C96875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001094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65C3A6A-0967-1E4F-8831-6EA71CD06F5D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09600" y="1081613"/>
            <a:ext cx="5486399" cy="495382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D023B447-C472-4FFB-8146-9C4B4AB0C67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1FAB2697-2712-FE45-8DA0-EF63106E2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69977AA-16BB-0C4F-A664-D6686D72F1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2E3B1F5-C5F5-B945-9146-E3FE66ADCC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2CA8F6-DF4D-4772-AB33-EC493EEF4B9A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988813-B187-455D-85DF-CBB5882CF1AA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AF411E5E-09DF-4E28-BE6E-3BC247AC4B8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4E4D1E69-DB61-4528-810A-8CE6E03B784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446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pos="3840">
          <p15:clr>
            <a:srgbClr val="FBAE40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6DE325D-3E65-402D-95B0-C27620FA64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3113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6DE325D-3E65-402D-95B0-C27620FA6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031890" y="-10673"/>
            <a:ext cx="4160109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FBB367A8-8DCC-6847-8D30-74516D9E043C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031889" y="2390327"/>
            <a:ext cx="4160111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32A0B33A-CF8B-1947-ACB2-AB69665D80A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-1" y="1380745"/>
            <a:ext cx="7303008" cy="5477257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5263181-B1D9-4115-9FC4-9CE6FD8E5B0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FDD1D1A5-5D9F-764D-A02B-21CB1442F7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FF61E78-AFFB-F44B-BFDB-C2B5875FA03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7BB4FD-6BC9-4C9C-8922-DD575DD56B13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7A549D4-3018-4CAF-B7B1-806723A2E4F5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1702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A77F77B-AABD-4020-AB85-0E6BC29249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195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A77F77B-AABD-4020-AB85-0E6BC29249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59DC62E-7380-5A49-8746-53EFA12DC6E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1" y="1600201"/>
            <a:ext cx="2946400" cy="3619500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3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300"/>
              </a:spcBef>
              <a:defRPr sz="1400"/>
            </a:lvl3pPr>
            <a:lvl4pPr>
              <a:lnSpc>
                <a:spcPct val="100000"/>
              </a:lnSpc>
              <a:spcBef>
                <a:spcPts val="3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3CFF718-B5F0-3D45-A03C-81D5E2147CD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973689" y="2816352"/>
            <a:ext cx="7608711" cy="3124200"/>
          </a:xfrm>
        </p:spPr>
        <p:txBody>
          <a:bodyPr wrap="square" anchor="b" anchorCtr="0"/>
          <a:lstStyle>
            <a:lvl1pPr algn="r">
              <a:lnSpc>
                <a:spcPts val="18500"/>
              </a:lnSpc>
              <a:spcBef>
                <a:spcPts val="0"/>
              </a:spcBef>
              <a:defRPr sz="25000" b="0" i="0" kern="0" spc="-1000" baseline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E2D2F661-3E7F-4601-B99E-2135C7ADBC6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952DD641-DB3B-6F45-8A70-05A69559D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747253A-0C59-CE4B-BC84-E5D8D706360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6FCD28A-7F94-9C4F-A31C-BF109312526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4437C85-71C1-4965-98AA-AB322A645B0A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D4069C1-CB70-47E8-BE89-934AD89EEC32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0C740D10-9B97-44BE-95CE-85CE3FC26E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7CFDDEBB-1A5D-495C-9562-C31BD2590B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579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496">
          <p15:clr>
            <a:srgbClr val="FBAE40"/>
          </p15:clr>
        </p15:guide>
        <p15:guide id="9" pos="2240">
          <p15:clr>
            <a:srgbClr val="FBAE40"/>
          </p15:clr>
        </p15:guide>
        <p15:guide id="10" orient="horz" pos="3288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843F0EF-D94B-48CB-9513-2D68E40E0A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4828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843F0EF-D94B-48CB-9513-2D68E40E0A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600201"/>
            <a:ext cx="5283200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7D909CE-D30F-4445-9B83-FD490780AD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" y="4745032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E55C82F-13DC-204D-866F-573A53A30E3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8400" y="4739396"/>
            <a:ext cx="53340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600201"/>
            <a:ext cx="5328355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55A8E6FD-35F4-417D-9B41-7DE2887E7D7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75B0F87-EFC2-B148-AC62-E7EDC82B6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F63A11A-E0DC-C441-8C0C-0C92B7CC32E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AAE6A4A-48A8-1C40-A6AE-398355A5309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AAA50A3-83EF-4952-8632-FFE353522B47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A21BB5-F73D-4D3A-9933-F159EB15525C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4" name="Rectangle 82">
            <a:extLst>
              <a:ext uri="{FF2B5EF4-FFF2-40B4-BE49-F238E27FC236}">
                <a16:creationId xmlns:a16="http://schemas.microsoft.com/office/drawing/2014/main" id="{73567009-B66A-43BE-BD71-850B1B769B0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5E3CD348-086A-4EF0-99C7-DBD451CA3C6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776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D3D11F-BAEB-44D3-8581-99EC0EDAB3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6655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D3D11F-BAEB-44D3-8581-99EC0EDAB3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331449"/>
            <a:ext cx="4462271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33144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E260A1A-688B-774C-903C-0A3A1228859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09600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BF07118-053B-414A-A34E-2E71FB891D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66688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884995DE-D9B7-F74A-9A09-BC6B33E180B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09601" y="3663169"/>
            <a:ext cx="4462272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397435F2-C0C2-E842-AD20-5B59B875A84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4045" y="366316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8CC7B25-E7E3-7A4F-9221-95D452FB9BF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9600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0496160-F36D-7148-9711-3D00BA6DF6B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66688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40A50952-A356-4EB0-8B8C-C588EE15A9A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850DE0C8-C2ED-EF4F-9321-CC3341907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91112C-9FF7-DE43-AF82-37C4452C4F3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23A338C-009A-CB4B-BC74-339517B20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A71106C-2D60-4B3B-9163-BD2E616B86A0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3CD4302-0E8F-4769-AB5B-7BD122BAF5D5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9" name="Rectangle 82">
            <a:extLst>
              <a:ext uri="{FF2B5EF4-FFF2-40B4-BE49-F238E27FC236}">
                <a16:creationId xmlns:a16="http://schemas.microsoft.com/office/drawing/2014/main" id="{B4A4D5CF-C4C7-450C-9334-31DAE7973B5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BD5B6EC9-6C56-4B67-B97E-62C7608F723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613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CF991D5-199B-426D-9571-F9BA920D307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B04D166-4958-9349-BD73-4AD540758D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10202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D83C91-857A-4B26-8D8A-56951DA295AF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7981E2-A37D-44F7-9BC3-BADD52672275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07FB442-219B-44B4-AD5F-F32C15ED6BA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3" name="Rectangle 82">
            <a:extLst>
              <a:ext uri="{FF2B5EF4-FFF2-40B4-BE49-F238E27FC236}">
                <a16:creationId xmlns:a16="http://schemas.microsoft.com/office/drawing/2014/main" id="{5DEB0253-B61C-4C06-B8BF-8EE16408EB1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449732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Gray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C7F45CD2-0507-4E64-B158-16FDC54238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E99A931-BFA9-5441-87EA-3CF04D1426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102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23A58EC-AF56-4ACE-99F7-40FDEFE6CA36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FF630E-A1BB-4624-BDA0-23B817EB760F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8" name="Rectangle 82">
            <a:extLst>
              <a:ext uri="{FF2B5EF4-FFF2-40B4-BE49-F238E27FC236}">
                <a16:creationId xmlns:a16="http://schemas.microsoft.com/office/drawing/2014/main" id="{5EEC0B24-129B-4EC5-975C-C51DF6D5D40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77B03D-52D0-44B7-A11D-C6D7C8F4D6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579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42602" y="2091325"/>
            <a:ext cx="7906795" cy="2675350"/>
          </a:xfrm>
        </p:spPr>
        <p:txBody>
          <a:bodyPr anchor="ctr" anchorCtr="0">
            <a:norm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 algn="ctr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C7D283C-70D9-4F79-8CCF-D2CBB0F346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pic>
        <p:nvPicPr>
          <p:cNvPr id="10" name="Picture 9" descr="Logo, icon, company name&#10;&#10;Description automatically generated">
            <a:extLst>
              <a:ext uri="{FF2B5EF4-FFF2-40B4-BE49-F238E27FC236}">
                <a16:creationId xmlns:a16="http://schemas.microsoft.com/office/drawing/2014/main" id="{C96BA8FE-3771-B54A-859B-C75E4B8708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303323"/>
            <a:ext cx="2934502" cy="1645920"/>
          </a:xfrm>
          <a:prstGeom prst="rect">
            <a:avLst/>
          </a:prstGeom>
        </p:spPr>
      </p:pic>
      <p:pic>
        <p:nvPicPr>
          <p:cNvPr id="11" name="Picture 10" descr="Logo, icon, company name&#10;&#10;Description automatically generated">
            <a:extLst>
              <a:ext uri="{FF2B5EF4-FFF2-40B4-BE49-F238E27FC236}">
                <a16:creationId xmlns:a16="http://schemas.microsoft.com/office/drawing/2014/main" id="{2EEAE64F-E79B-A540-A03C-DED1488A62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4908758"/>
            <a:ext cx="2934502" cy="164592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BC7BAB9-5828-4672-9095-605C815C6DA4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214915C-8206-4E74-A63E-C99114665EDC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2">
            <a:extLst>
              <a:ext uri="{FF2B5EF4-FFF2-40B4-BE49-F238E27FC236}">
                <a16:creationId xmlns:a16="http://schemas.microsoft.com/office/drawing/2014/main" id="{CA75BB9F-E74B-4526-972F-61B0B867B6A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8EE9B830-85A7-4002-B6FF-31E4D6C812F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8452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BD94BD7-12E0-4039-A6BE-706E15DF6B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952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BD94BD7-12E0-4039-A6BE-706E15DF6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E00F683-FF21-46E3-A68D-2D9DDBCFCAA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B56A1C5-73D4-4CC9-BF77-E43ED523EEA9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7170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- Phot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6B00F83-3660-194B-97E0-4599783E67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881BD6-5C0C-4CDA-94FE-9534E908DD60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C31686-0601-49A1-A560-B36639F0D219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5B4EFF-0041-084A-B0F9-54D99AB17B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DC41F9E0-99DE-4EF6-BE3B-F2A540D376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3" name="Rectangle 82">
            <a:extLst>
              <a:ext uri="{FF2B5EF4-FFF2-40B4-BE49-F238E27FC236}">
                <a16:creationId xmlns:a16="http://schemas.microsoft.com/office/drawing/2014/main" id="{BD655E7D-751C-49ED-A7A4-343B011DCE2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46602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- Phot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5E62AD0-7492-9248-A420-17A87723997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3810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345161-A988-430F-8F5D-2140002DC367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D2F956-51D0-4CEA-A8C6-557C91248403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D296CD9-FDC7-E14B-9F75-98F387A88D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A7AD0F4A-2811-4BB3-BD43-574EFBED6B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D097AEDD-6F7D-491E-9022-5367E211A5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3001556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3636A9D-BC65-4B42-A456-9F235FD32D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6B624A7-6C4C-4B8C-B311-91708EF3AD81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97C293-4151-4F45-BEFC-FBBBEE255F60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DE94B9AF-D958-42B7-9E0F-43B000094F3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4663C675-43E6-4D1C-ACEB-414C5A3B83A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870988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F090D58-AEDB-42F6-B499-08E75F7E15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64CFA36-6835-0746-9840-0E0BCAB2C9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516909-E1B2-444A-B3A8-7FCD52854FA2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4AB5A1-60F2-4271-9FAC-E31461C114A1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BB4048D-0888-4E8F-A04B-FB880F2766D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2" name="Rectangle 82">
            <a:extLst>
              <a:ext uri="{FF2B5EF4-FFF2-40B4-BE49-F238E27FC236}">
                <a16:creationId xmlns:a16="http://schemas.microsoft.com/office/drawing/2014/main" id="{0E46A227-F641-47B1-9A58-5EEE3D88792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466945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E1D89F0-AB54-E544-B426-C59272FE43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611252"/>
            <a:ext cx="5784219" cy="1817748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6337524D-5A5E-48A2-BEB4-E3CD8A10DC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112A3CB-66FF-49A9-9F83-DC384BD34AB6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71590D-A924-4EC3-8C0E-CF38A11B8CCB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7287E25B-F496-48FB-A1F3-00BF981BCFB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B2F443A-4766-448A-A9C1-4F04BB2A7F7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600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A4E5295-54E4-5142-89B4-6296C4B8CF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E79ADCA6-5135-4529-BEBF-9555A7E463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38F4279-0F64-1745-A6B8-C2704BC5A301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-830952" y="457200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63AACBE6-E182-6345-AFB0-E51AFD9846EE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10741427" y="3920825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B2706E-392F-4651-A72C-C804CD1AD8BE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0567C7-587B-4D80-9DC9-AE3BEC155FEE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0" name="Rectangle 82">
            <a:extLst>
              <a:ext uri="{FF2B5EF4-FFF2-40B4-BE49-F238E27FC236}">
                <a16:creationId xmlns:a16="http://schemas.microsoft.com/office/drawing/2014/main" id="{55E5992C-6B07-4C78-96F0-0182579C061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8E6F422-E210-43D8-AADA-2220E8CA49F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743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Quote - Photo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F536B2A-9621-8D43-9647-6BD326BB0E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F7283E-B18E-4891-9644-6A173F99F930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B3F41F-14AC-40D6-B66D-AAEADBE84964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320A0BB-A1CC-7340-BA3E-73149B252C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9" name="Rectangle 82">
            <a:extLst>
              <a:ext uri="{FF2B5EF4-FFF2-40B4-BE49-F238E27FC236}">
                <a16:creationId xmlns:a16="http://schemas.microsoft.com/office/drawing/2014/main" id="{9529F147-079C-485E-8EB3-35E144D2274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CC11AF5-2860-4542-A810-735AFA563F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748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F768C6C-CF58-204D-9B49-15E274BCFB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533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C770A6F-4F30-4069-B2E6-125B0281942E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512FA1-C9F4-4FC5-8840-41326195738D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34EFCDF-3A0F-A74C-8E18-D7C3D5D52F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6E295A5-5AF7-4927-9ACA-D07BFA3124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C1B4EE23-3E7F-4607-8598-62877FA813E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347669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C9001175-7075-1645-A2F8-5CFF254A79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4098631"/>
            <a:ext cx="5486400" cy="255210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For more information, please contact: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7BDC76E-3EAD-FF42-A2C0-030580EC536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600" y="4456611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31DD59B-560C-1E42-BC4F-D82BCCB9388E}"/>
              </a:ext>
            </a:extLst>
          </p:cNvPr>
          <p:cNvCxnSpPr>
            <a:cxnSpLocks/>
          </p:cNvCxnSpPr>
          <p:nvPr userDrawn="1"/>
        </p:nvCxnSpPr>
        <p:spPr>
          <a:xfrm>
            <a:off x="609600" y="4369549"/>
            <a:ext cx="5283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038108E8-A91B-544B-AE58-E579F97F32F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60494" y="4456611"/>
            <a:ext cx="5321905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92F71DB-5BDC-4740-BCA4-437EB0A68AB1}"/>
              </a:ext>
            </a:extLst>
          </p:cNvPr>
          <p:cNvCxnSpPr>
            <a:cxnSpLocks/>
          </p:cNvCxnSpPr>
          <p:nvPr userDrawn="1"/>
        </p:nvCxnSpPr>
        <p:spPr>
          <a:xfrm>
            <a:off x="6260496" y="4369549"/>
            <a:ext cx="5321905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8DC9CEBF-A997-3847-A730-F505EFD8210D}"/>
              </a:ext>
            </a:extLst>
          </p:cNvPr>
          <p:cNvSpPr txBox="1">
            <a:spLocks/>
          </p:cNvSpPr>
          <p:nvPr userDrawn="1"/>
        </p:nvSpPr>
        <p:spPr>
          <a:xfrm>
            <a:off x="609600" y="2335492"/>
            <a:ext cx="10972800" cy="1318883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Visa Dialect Medium" pitchFamily="2" charset="0"/>
                <a:ea typeface="+mj-ea"/>
                <a:cs typeface="+mj-cs"/>
              </a:defRPr>
            </a:lvl1pPr>
          </a:lstStyle>
          <a:p>
            <a:r>
              <a:rPr lang="en-US" sz="8000" spc="-150"/>
              <a:t>Thank you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93703EF-3215-7C4F-9099-263CB54403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13" name="Picture 12" descr="Background pattern, rectangle&#10;&#10;Description automatically generated">
            <a:extLst>
              <a:ext uri="{FF2B5EF4-FFF2-40B4-BE49-F238E27FC236}">
                <a16:creationId xmlns:a16="http://schemas.microsoft.com/office/drawing/2014/main" id="{1158DE16-2738-D94E-92CB-790882C8E9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72438FC-1EF6-4544-9CC6-2A755FA71C2E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9F5E8F3-335C-4384-B1FF-B8461A4CD164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FF082EAE-B6FC-4B36-9523-D2E76077D8B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BAD20CDC-AF6E-4D4B-B7CE-63543EEAD8F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951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44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560">
          <p15:clr>
            <a:srgbClr val="FBAE40"/>
          </p15:clr>
        </p15:guide>
      </p15:sldGuideLst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Quot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0C35452-CE92-4041-B1AB-4652EFF98AA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22A93CE-8ECC-45F5-AEF3-66B86A05880E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4ADE85-FE04-4C1D-A0E3-C416257E5248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23F1296-C6EE-48BC-A658-6FFA134CDAE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7" name="Rectangle 82">
            <a:extLst>
              <a:ext uri="{FF2B5EF4-FFF2-40B4-BE49-F238E27FC236}">
                <a16:creationId xmlns:a16="http://schemas.microsoft.com/office/drawing/2014/main" id="{6C1945D4-C0C4-4AE0-AC47-E44CF829FD7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781492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 -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01841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4326FF3-6B6B-4143-B2F9-702DB76E31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9DE400A-9E6F-4EAE-BBA0-88655336BC58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8641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Quot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DFA0D9A1-9E83-48FE-BA25-BF5B3FC52412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AF825AC-87A8-4DE1-883F-A7D4E837D14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9" name="Picture 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4C178F04-8C13-4DD6-BAE5-DE0ED7BE499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A6CFD8C-17D1-4CF1-8DC5-0B8EBD70374F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6" name="Rectangle 82">
            <a:extLst>
              <a:ext uri="{FF2B5EF4-FFF2-40B4-BE49-F238E27FC236}">
                <a16:creationId xmlns:a16="http://schemas.microsoft.com/office/drawing/2014/main" id="{1F225078-D262-47FA-B0A1-8B5542DC004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A7296F1-C131-4225-AF9A-2EE33EEE341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654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 -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B7629A-90F9-442C-A330-6364D538FC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3369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B7629A-90F9-442C-A330-6364D538FC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8BB0E5B-E71F-4DFB-B0A8-8288771CB65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956CE09-72E4-4F2E-BB26-6A8A49D6757F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60ACAD5-BE41-4375-8AF5-FE4014A3877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339E6AB4-C07A-4E22-A99C-EF0933C4985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508997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ick Win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640CA6D4-7D60-1C6F-9975-6333ACF9DF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3274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640CA6D4-7D60-1C6F-9975-6333ACF9DF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295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Illustration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B980B98-A2F2-104F-B1F3-4969CC3C5A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54240" y="2776810"/>
            <a:ext cx="4431429" cy="329931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ABED557-8CCF-4E06-A4B0-138D63BEA5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B2E44F33-678A-47EA-AC07-88FFA81297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358465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2B imagery -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Picture 10" descr="Background pattern, rectangle&#10;&#10;Description automatically generated">
            <a:extLst>
              <a:ext uri="{FF2B5EF4-FFF2-40B4-BE49-F238E27FC236}">
                <a16:creationId xmlns:a16="http://schemas.microsoft.com/office/drawing/2014/main" id="{531B1FD9-0074-469F-8AE7-E606DAD866B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6929856F-DABF-471F-8B38-2526EC3ED5B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C1AA3B56-2388-49CA-AD18-833EC83542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545197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­ - B2B imagery -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Picture 10" descr="Background pattern, rectangle&#10;&#10;Description automatically generated">
            <a:extLst>
              <a:ext uri="{FF2B5EF4-FFF2-40B4-BE49-F238E27FC236}">
                <a16:creationId xmlns:a16="http://schemas.microsoft.com/office/drawing/2014/main" id="{7FD18B49-0479-4CF3-89E4-5BDC364D67A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4CB7C099-CC69-4D83-991F-6E38857EB54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FE6DB80F-96E5-44B2-B38D-57C87BFDD9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880405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 - with Ic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076C857-6C05-8E4F-89DE-4C6A9CEA50B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B4CD84E1-A716-784A-BEDC-3F776D13EC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5F9A24A-091B-1847-A8CD-FA05E6DF03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8FA1B8AC-487C-49C6-B84A-CD69B74EDE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208008" y="3835908"/>
            <a:ext cx="2374392" cy="237439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D319C69-C7DB-B842-A288-4B78C966A26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94403A-163E-2F49-B354-92394604048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DC265AB-EBB4-4A26-83CD-9770E18E9B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7" name="Rectangle 82">
            <a:extLst>
              <a:ext uri="{FF2B5EF4-FFF2-40B4-BE49-F238E27FC236}">
                <a16:creationId xmlns:a16="http://schemas.microsoft.com/office/drawing/2014/main" id="{677ADEC4-2706-4062-A5A4-0408C76D9C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450107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FAEF6FF-624F-F941-8333-F016E751BE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E27E99B-5241-0942-B27C-8DC37A0E3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8F6A2D3-237C-B142-BB6C-D1D674B692C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E83F0A4-A2E0-234F-9735-E801C5099329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5DD0A7-9B3F-B445-B3E3-DCBA18FD692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E74BCA9-4EC7-4DCA-BB36-2BA3463C36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B0957394-30D0-4716-A027-B93A302A27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705685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 - VBM+Symb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653EF4D2-FA1F-824F-9159-013422D09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accent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D0E9125-603C-FE4B-9FE5-B2CDA2CFBD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75FF374-CE84-874F-AD2F-DEC1ADE14B1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0F52965-CEEE-2C41-AD99-92F2BDAE802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E4A174-513B-AF43-8972-1BF7BACDE2E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2">
            <a:extLst>
              <a:ext uri="{FF2B5EF4-FFF2-40B4-BE49-F238E27FC236}">
                <a16:creationId xmlns:a16="http://schemas.microsoft.com/office/drawing/2014/main" id="{D569423D-2F88-426D-B662-3E29CF5B8F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7E2C032-B12D-4BA9-A8E5-489BAD92E1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381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B023C5D-F5CC-44FA-834F-43851B9A10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43EE40-5826-477B-BEEF-B50E81BADC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3463FD-6F8E-41D2-B867-102704C5E9FC}"/>
              </a:ext>
            </a:extLst>
          </p:cNvPr>
          <p:cNvCxnSpPr>
            <a:cxnSpLocks/>
          </p:cNvCxnSpPr>
          <p:nvPr/>
        </p:nvCxnSpPr>
        <p:spPr>
          <a:xfrm>
            <a:off x="6096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843B257-7F12-4633-9525-3B6D2C5C29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884D96D-3DE4-40B0-90D8-B5918CF1D0E8}"/>
              </a:ext>
            </a:extLst>
          </p:cNvPr>
          <p:cNvCxnSpPr>
            <a:cxnSpLocks/>
          </p:cNvCxnSpPr>
          <p:nvPr/>
        </p:nvCxnSpPr>
        <p:spPr>
          <a:xfrm>
            <a:off x="3454400" y="2521444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5176D7D-6355-4FF3-9137-FC5B3D8B65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5426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7B4ED28-009B-4D27-8603-E737D3353D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2F40EFA-7CFE-412F-9670-84A0FD0AAAD2}"/>
              </a:ext>
            </a:extLst>
          </p:cNvPr>
          <p:cNvCxnSpPr>
            <a:cxnSpLocks/>
          </p:cNvCxnSpPr>
          <p:nvPr/>
        </p:nvCxnSpPr>
        <p:spPr>
          <a:xfrm>
            <a:off x="90932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0EAEBC3-D403-4863-B94C-5BA28D11A2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0BF9787-757D-4D4A-9D39-36E4F20150F8}"/>
              </a:ext>
            </a:extLst>
          </p:cNvPr>
          <p:cNvCxnSpPr>
            <a:cxnSpLocks/>
          </p:cNvCxnSpPr>
          <p:nvPr/>
        </p:nvCxnSpPr>
        <p:spPr>
          <a:xfrm>
            <a:off x="6096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39AED03-861E-49F5-9486-9875D7F325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54400" y="3962591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6A4D639-35EE-4A75-9D5D-F5D68D810241}"/>
              </a:ext>
            </a:extLst>
          </p:cNvPr>
          <p:cNvCxnSpPr>
            <a:cxnSpLocks/>
          </p:cNvCxnSpPr>
          <p:nvPr/>
        </p:nvCxnSpPr>
        <p:spPr>
          <a:xfrm>
            <a:off x="3454400" y="4916821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191B399-15E8-4E18-95CE-9D88E07F66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5423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9BE4E74-7BEC-498B-AB83-0C7C20ED890A}"/>
              </a:ext>
            </a:extLst>
          </p:cNvPr>
          <p:cNvCxnSpPr>
            <a:cxnSpLocks/>
          </p:cNvCxnSpPr>
          <p:nvPr/>
        </p:nvCxnSpPr>
        <p:spPr>
          <a:xfrm>
            <a:off x="6295423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92CC6EC-3B35-4B15-8ECF-71827B4F797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932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A28FED9-B6B8-4348-BFC2-E292A6FB0FCF}"/>
              </a:ext>
            </a:extLst>
          </p:cNvPr>
          <p:cNvCxnSpPr>
            <a:cxnSpLocks/>
          </p:cNvCxnSpPr>
          <p:nvPr/>
        </p:nvCxnSpPr>
        <p:spPr>
          <a:xfrm>
            <a:off x="90932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Content Placeholder 2">
            <a:extLst>
              <a:ext uri="{FF2B5EF4-FFF2-40B4-BE49-F238E27FC236}">
                <a16:creationId xmlns:a16="http://schemas.microsoft.com/office/drawing/2014/main" id="{11899807-858E-4003-8BDF-4015E542845B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609600" y="2643202"/>
            <a:ext cx="247828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6" name="Content Placeholder 2">
            <a:extLst>
              <a:ext uri="{FF2B5EF4-FFF2-40B4-BE49-F238E27FC236}">
                <a16:creationId xmlns:a16="http://schemas.microsoft.com/office/drawing/2014/main" id="{8713D4C8-925C-4E15-9DF9-AB425817C32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454400" y="2643208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7" name="Content Placeholder 2">
            <a:extLst>
              <a:ext uri="{FF2B5EF4-FFF2-40B4-BE49-F238E27FC236}">
                <a16:creationId xmlns:a16="http://schemas.microsoft.com/office/drawing/2014/main" id="{7EDB3C1E-C224-4411-B608-25ABA2658B70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6295426" y="2643202"/>
            <a:ext cx="2489197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8" name="Content Placeholder 2">
            <a:extLst>
              <a:ext uri="{FF2B5EF4-FFF2-40B4-BE49-F238E27FC236}">
                <a16:creationId xmlns:a16="http://schemas.microsoft.com/office/drawing/2014/main" id="{601DD3FF-8D08-49F7-97A5-81CD5390891E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9093200" y="2643202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9" name="Content Placeholder 2">
            <a:extLst>
              <a:ext uri="{FF2B5EF4-FFF2-40B4-BE49-F238E27FC236}">
                <a16:creationId xmlns:a16="http://schemas.microsoft.com/office/drawing/2014/main" id="{E6F0E1CC-E3A5-476C-B9BD-8E55B73C912E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09600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Content Placeholder 2">
            <a:extLst>
              <a:ext uri="{FF2B5EF4-FFF2-40B4-BE49-F238E27FC236}">
                <a16:creationId xmlns:a16="http://schemas.microsoft.com/office/drawing/2014/main" id="{6CA859C0-8CC8-4AD9-A9BC-64F1FC91D711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454400" y="5024160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1" name="Content Placeholder 2">
            <a:extLst>
              <a:ext uri="{FF2B5EF4-FFF2-40B4-BE49-F238E27FC236}">
                <a16:creationId xmlns:a16="http://schemas.microsoft.com/office/drawing/2014/main" id="{BBD7B664-2D47-45FC-8170-499D24E52CD3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6295423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2" name="Content Placeholder 2">
            <a:extLst>
              <a:ext uri="{FF2B5EF4-FFF2-40B4-BE49-F238E27FC236}">
                <a16:creationId xmlns:a16="http://schemas.microsoft.com/office/drawing/2014/main" id="{7C76208B-5543-46CF-A9E2-FACFA2214379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9089423" y="5007399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1B229B7-1E51-4DB5-8A87-EA006CA75597}"/>
              </a:ext>
            </a:extLst>
          </p:cNvPr>
          <p:cNvCxnSpPr>
            <a:cxnSpLocks/>
          </p:cNvCxnSpPr>
          <p:nvPr/>
        </p:nvCxnSpPr>
        <p:spPr>
          <a:xfrm>
            <a:off x="6295426" y="2521444"/>
            <a:ext cx="248919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 descr="Logo&#10;&#10;Description automatically generated">
            <a:extLst>
              <a:ext uri="{FF2B5EF4-FFF2-40B4-BE49-F238E27FC236}">
                <a16:creationId xmlns:a16="http://schemas.microsoft.com/office/drawing/2014/main" id="{BEC567DB-456B-4C04-85C5-43BB8355521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D076AD15-8A80-4D5C-99D2-930048D9981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CA210-CD82-4973-86C5-C81EDE5EA83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3" name="Rectangle 82">
            <a:extLst>
              <a:ext uri="{FF2B5EF4-FFF2-40B4-BE49-F238E27FC236}">
                <a16:creationId xmlns:a16="http://schemas.microsoft.com/office/drawing/2014/main" id="{6B9A56F8-EB09-4F40-91B6-8D1D2F5530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1A738C1A-312C-4A5E-B567-CBA919874D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120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84">
          <p15:clr>
            <a:srgbClr val="FBAE40"/>
          </p15:clr>
        </p15:guide>
        <p15:guide id="16" pos="3744">
          <p15:clr>
            <a:srgbClr val="FBAE40"/>
          </p15:clr>
        </p15:guide>
        <p15:guide id="17" pos="3960">
          <p15:clr>
            <a:srgbClr val="FBAE40"/>
          </p15:clr>
        </p15:guide>
        <p15:guide id="18" pos="5520">
          <p15:clr>
            <a:srgbClr val="FBAE40"/>
          </p15:clr>
        </p15:guide>
        <p15:guide id="19" pos="573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mber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9CE45557-2782-1C4D-9649-89829803926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599" y="1600200"/>
            <a:ext cx="8153401" cy="4610100"/>
          </a:xfrm>
        </p:spPr>
        <p:txBody>
          <a:bodyPr>
            <a:noAutofit/>
          </a:bodyPr>
          <a:lstStyle>
            <a:lvl1pPr marL="230188" indent="-230188">
              <a:lnSpc>
                <a:spcPct val="100000"/>
              </a:lnSpc>
              <a:spcBef>
                <a:spcPts val="1200"/>
              </a:spcBef>
              <a:spcAft>
                <a:spcPts val="800"/>
              </a:spcAft>
              <a:buFont typeface="+mj-lt"/>
              <a:buAutoNum type="arabicPeriod"/>
              <a:tabLst/>
              <a:defRPr sz="1600">
                <a:solidFill>
                  <a:schemeClr val="accent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/>
            </a:lvl2pPr>
            <a:lvl3pPr marL="4572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3pPr>
            <a:lvl4pPr marL="6858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edit numbering text styles</a:t>
            </a:r>
          </a:p>
          <a:p>
            <a:pPr lvl="2"/>
            <a:r>
              <a:rPr lang="en-US"/>
              <a:t>Second bullet level</a:t>
            </a:r>
          </a:p>
          <a:p>
            <a:pPr lvl="3"/>
            <a:r>
              <a:rPr lang="en-US"/>
              <a:t>Third bullet 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9B99707-631C-504C-957F-75DF92D4259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3F65495-12A4-4284-86B6-8783B653382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FFA63EF-612C-4DDE-BDB9-DD67DDE0B3DF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54259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6B01A99-F0E4-4F6A-9814-CECDD9DC96F6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38B7B0-D097-7C40-B18F-DF9854A1FD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1600200"/>
            <a:ext cx="8155179" cy="3714750"/>
          </a:xfr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Visa Dialect Regular 18pt</a:t>
            </a:r>
          </a:p>
          <a:p>
            <a:pPr lvl="0"/>
            <a:r>
              <a:rPr lang="en-US"/>
              <a:t>Items are automatically numbered</a:t>
            </a:r>
          </a:p>
          <a:p>
            <a:pPr lvl="0"/>
            <a:r>
              <a:rPr lang="en-US"/>
              <a:t>If needed, use the Numbering button on the Home tab to turn off numbers.</a:t>
            </a:r>
          </a:p>
          <a:p>
            <a:pPr lvl="0"/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51B0AD-0CB2-A048-A80E-79B8AB9DC5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AF40C379-F42C-48E2-9BF6-F41A857ED5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902A4BD-9D83-44B2-ACE3-88F0098F377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D9AF42-CC7A-4B9F-B211-4FF9B1A9EA7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5" name="Rectangle 82">
            <a:extLst>
              <a:ext uri="{FF2B5EF4-FFF2-40B4-BE49-F238E27FC236}">
                <a16:creationId xmlns:a16="http://schemas.microsoft.com/office/drawing/2014/main" id="{F4323786-EA2E-40B7-B647-9949EA1B9B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CCA81A6E-0CF0-4338-B8B5-E72C667E63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980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pos="5520">
          <p15:clr>
            <a:srgbClr val="FBAE40"/>
          </p15:clr>
        </p15:guide>
        <p15:guide id="22" pos="5736">
          <p15:clr>
            <a:srgbClr val="FBAE40"/>
          </p15:clr>
        </p15:guide>
      </p15:sldGuideLst>
    </p:ext>
  </p:extLs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B796B2-E9E7-4A1D-AD60-1EB8C21CF2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B3BD4A8-0E52-4FFD-81E5-4667BBF1EFC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B95E950-296F-E542-B8F2-E86E8C26F9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341839-DFD3-DC46-B0B1-748514F6A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1E25E2-478B-4A61-B489-BCCB76E32FA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D9929F-8F44-4512-A3C5-4A94AA39173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587FB0F-0E7B-49AB-95F9-0BE1492C27B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A225AB9E-6270-411B-BA41-FE4DC155E9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84994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8A5BA51-F084-46F7-93C2-7B53463A69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8FFAC3C-0074-FE4C-A801-A8774F5415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EA814F0-7225-EE49-AEEB-8D88CDE9E2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8E4219-BF8A-EF4A-A133-8697CB3D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9DDFC30-4C35-4FFE-B78F-CC6778ACBCB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8ED936E-64AB-439B-98BB-2235A783FB7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A2422CE-195E-4DA5-9984-0FE3619373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710D1EF4-44F9-49FB-BA15-FDE8DBFE38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98966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19E6CA2-344D-4DE3-AED7-2763D00E6F2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5B45E48-5A8A-7C43-968E-E1237A2CF6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E458D01-2E76-4D49-95E3-8329F9C32E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821AC90-4858-944A-AAA3-8FB5B5B21A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1F327F-1FC5-4766-BD46-CC371BD2A4C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564589-4D8E-4B07-B6EF-C13FC69FF19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5E9EB26-B07A-4858-8583-AA49119DFAF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D9CB0298-1E33-4FE2-B7BD-6E00FE1A26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884478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0CB6150-C0E7-4A2D-82C2-2A7C8BF43AD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CB1B974-08D3-AB49-86CE-CCE82104A9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DFFAE56-C962-6C4A-AD68-F109E1F4C0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67E79CE-AD17-A442-A7EE-EEA5858FBA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D4241A-A15C-479B-B2A0-F40EAD45853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0CD241-C7A6-4F00-9726-06138E6089B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91C7B16-958E-4EBE-AC41-B49A60AA54D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2479FC45-EBBC-4782-87D2-86608560F9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737460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7BAF715-EBE8-446C-91FD-813ACDD79FA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77865E-7ADA-7C48-AC7C-7BD23AFA87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B5A86F8-9249-2941-BCE8-3144DCB36D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B89671E-C5A3-AC49-961F-0681EA7A7A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00655D-D26A-4756-9390-58205F822B2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771495-DD2C-4133-A19E-D2FC4E0161A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65242E3-D0EC-4498-BC2E-BA974FBDAA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7E607763-3821-420C-ACA3-5EC3B11F88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22286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10B0A4C-A4E3-4EFF-811D-C8F7F71DDAD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3B9DD37-5DFE-4A41-8FA8-34800D0AD8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CC9C687-5164-DD4B-905F-8D9278B64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1DCF08D-7562-D34D-A3B4-44FC665F46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89084A-677C-4667-80CD-ACE9A503F27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18D356-C67E-4C15-9A94-5289D723453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28CE00D-241A-4667-ADFB-106FE417DD3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C0EA51A1-56A3-4324-9B20-1DC16E9534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884734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882F6FB-6C88-4EEE-9198-A9B87177A1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5156B22-A2E9-B341-8510-C9C5982CFD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0F1350D-FD1E-384F-BE94-2292ED259F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64FC454-9417-9341-BB90-0BEC752290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6F9526-02BF-4F7A-B3A0-57215B91A51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D776A7-A108-4986-8E36-1A1B07036F5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E30A2C6-3416-414C-A125-983540B4A5B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E1592E0D-D96C-4EEC-864F-766BBA8B51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366232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FC571ED-58FB-4FE8-A7F4-3671854D65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34E0250-7EA6-A14E-85A2-70CC7AF598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FB486BD-B31D-2746-A2D9-D74A5612C6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9B97EB1-495E-7643-8ACA-13F7587376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DDD1-E673-413B-ABF2-1F205D7C233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405CC88-5C99-4116-8382-D1031391C5A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BD336C-4C14-4603-9D44-C23F03FB9AB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5EF51455-186B-4653-A265-9D454538EF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40613656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Text onl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6B6122-7868-471E-9927-60AD1625462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EF2D28D-835D-674E-9C16-1E2C9608E6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63B2BCD-5F69-8D43-8F89-629C13FC6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ECA1875B-428C-074B-81DA-1C09468F0A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4CF6F7F-687B-4B57-8E8F-5B349EA3B32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5263A8-6FCF-4763-8B81-709E07B3599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28DEC49-3A24-4F15-BA2F-3FF11C8816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4E66CCDB-3D15-42FC-8F6F-2697B9D6A0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388682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876AED2-1CFF-4BDE-9E1E-69CBC3EB080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159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4848DAD-A1C5-BA4C-9B67-B4FD8714D28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7F36E9A5-B20B-9240-BE59-A48AFE097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4173" y="1610833"/>
            <a:ext cx="5481827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856474F-DB99-E44D-BFE6-6C67698BAD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4173" y="2647860"/>
            <a:ext cx="5481826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9" name="Picture 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03B21D41-9026-49AE-9F0C-C3635D68359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9560AEA-675B-0747-9C5B-DBF5C5D4574C}"/>
              </a:ext>
            </a:extLst>
          </p:cNvPr>
          <p:cNvSpPr txBox="1"/>
          <p:nvPr/>
        </p:nvSpPr>
        <p:spPr>
          <a:xfrm>
            <a:off x="9375969" y="6587711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475C2A6-77D3-EE48-B7DC-5AD197DBE1D7}"/>
              </a:ext>
            </a:extLst>
          </p:cNvPr>
          <p:cNvSpPr txBox="1"/>
          <p:nvPr/>
        </p:nvSpPr>
        <p:spPr>
          <a:xfrm>
            <a:off x="11449612" y="6587710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9691817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-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98EDF07-72EA-CE41-A35E-2CE9B7FCED0C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5636F92-56A3-4048-9234-A4D4D6B1402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09600" y="1600200"/>
            <a:ext cx="10972800" cy="4610100"/>
          </a:xfrm>
        </p:spPr>
        <p:txBody>
          <a:bodyPr>
            <a:noAutofit/>
          </a:bodyPr>
          <a:lstStyle>
            <a:lvl1pPr marL="514350" marR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3200" b="0" i="0">
                <a:solidFill>
                  <a:schemeClr val="tx1"/>
                </a:solidFill>
                <a:latin typeface="Visa Dialect Medium" pitchFamily="2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05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05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5pPr>
            <a:lvl6pPr marL="685800" indent="-176213">
              <a:tabLst/>
              <a:defRPr sz="1050"/>
            </a:lvl6pPr>
          </a:lstStyle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  <a:p>
            <a:pPr marL="5143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Second level</a:t>
            </a:r>
          </a:p>
          <a:p>
            <a:pPr marL="514350" marR="0" lvl="2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Third level</a:t>
            </a:r>
          </a:p>
          <a:p>
            <a:pPr marL="514350" marR="0" lvl="3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ourth level</a:t>
            </a:r>
          </a:p>
          <a:p>
            <a:pPr marL="514350" marR="0" lvl="4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ifth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764807F4-3A5E-4790-8BFF-9F75F97358A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758" y="6471697"/>
            <a:ext cx="552782" cy="179101"/>
          </a:xfrm>
          <a:prstGeom prst="rect">
            <a:avLst/>
          </a:prstGeom>
        </p:spPr>
      </p:pic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A80DBE0-EA23-914C-BE1F-E2E9FA549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71262D7-4155-664A-A7EF-0F6CD92AC9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62BCEA-A68A-4769-B6ED-EF217FA5B7A2}"/>
              </a:ext>
            </a:extLst>
          </p:cNvPr>
          <p:cNvSpPr txBox="1"/>
          <p:nvPr/>
        </p:nvSpPr>
        <p:spPr>
          <a:xfrm>
            <a:off x="9350396" y="6577470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F5C9A73-A701-4C1A-8996-020E12C23E8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730269A-08C3-4518-B8B4-B1B1540EC7C4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281718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&amp;A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0C7A211-453E-4D0B-AEB3-1E2206B264F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A96E994-B347-4526-B8DE-2F0DEE90471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9A7E0F-7DCB-4BBC-8865-65F8E448C5E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5C50D10-4CF2-456D-9012-B0BDC5857F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9" name="Rectangle 82">
            <a:extLst>
              <a:ext uri="{FF2B5EF4-FFF2-40B4-BE49-F238E27FC236}">
                <a16:creationId xmlns:a16="http://schemas.microsoft.com/office/drawing/2014/main" id="{E7DDB7CD-21A1-4A4A-9949-0FFCAC055B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157291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&amp;A - Whit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ED1F4B8-24E0-4ED5-9093-8C027FEFB19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65FE600-6E90-41CA-925C-7248AED93E6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115DBC-2B4F-4AA2-867E-80D7D554C07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6" name="Rectangle 82">
            <a:extLst>
              <a:ext uri="{FF2B5EF4-FFF2-40B4-BE49-F238E27FC236}">
                <a16:creationId xmlns:a16="http://schemas.microsoft.com/office/drawing/2014/main" id="{CDDE597F-BAEB-47E8-867F-ACD8DECD92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4C021FF-E312-4A2C-A51C-EF33A327608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904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A2B29E-2D28-4D18-9E99-053B37610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8747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A2B29E-2D28-4D18-9E99-053B37610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701F9548-162A-4715-BBDE-BD262EE673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5B0F3AB-1D3B-49D8-9299-CC0116B50C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E16C14-4943-413C-A577-91BEFC94A18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466916A-1A85-4539-B42A-68ACEF8D2CF9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BAF6C7-94CD-446B-B7F3-8CDB7F2C5B66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US"/>
              <a:t>|  Visa Consulting and Analytics  |  Hudson River CCU   |   Consumer Debit Assessment Final Readout  |  Visa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03040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45919AD-36C2-4214-89C4-F6CAFE1A95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073FB1A2-EA14-4F6C-86F9-FD497A3034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0AEBB67-1858-8045-8897-E60ACC3C616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4826C0C-2EDB-488A-8715-85AF64027CCD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785AC-4A3E-4F1C-B384-9A61E41DFD2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0" name="Rectangle 82">
            <a:extLst>
              <a:ext uri="{FF2B5EF4-FFF2-40B4-BE49-F238E27FC236}">
                <a16:creationId xmlns:a16="http://schemas.microsoft.com/office/drawing/2014/main" id="{9F5F2119-7601-40C9-87DF-B2193F30F8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FB63FD8-0758-4631-A48E-FC82B0F293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8A4BC33-47D5-4C17-A832-615394206016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|  Visa Consulting and Analytics  |  Hudson River CCU   |   Consumer Debit Assessment Final Readout  |  Visa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7F825E-279A-42B9-8D5E-A6FCBD263103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466916A-1A85-4539-B42A-68ACEF8D2C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937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  <p15:guide id="5" pos="5736">
          <p15:clr>
            <a:srgbClr val="FBAE40"/>
          </p15:clr>
        </p15:guide>
      </p15:sldGuideLst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58AFA770-D7F0-4D2B-A47E-E283C9FBB1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0751AB5-BCE2-3A48-AB2B-81D2957752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4009E6-8C8C-4F63-8386-915350D1F6B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3475BE-34FA-478E-A50B-B89C4195AD5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03A7B655-B37E-46E5-802C-742A2A25DE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6C247F9-3C5B-40D1-B172-8C1001C665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37B5D24-BCF6-4AB5-86FA-E3145B772484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|  Visa Consulting and Analytics  |  Hudson River CCU   |   Consumer Debit Assessment Final Readout  |  Visa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CE4FEC-A15F-4A20-979C-02856739CD5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466916A-1A85-4539-B42A-68ACEF8D2C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765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 -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58AFA770-D7F0-4D2B-A47E-E283C9FBB1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01841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0751AB5-BCE2-3A48-AB2B-81D2957752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4009E6-8C8C-4F63-8386-915350D1F6B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3475BE-34FA-478E-A50B-B89C4195AD5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BBFFB18F-502B-4620-8EBB-ADDCDAFFE0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F3D92FE-9EF1-45FA-83AE-7DEE9BCD7F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5FA2F0B-B299-49AC-AD78-66659627AB20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|  Visa Consulting and Analytics  |  Hudson River CCU   |   Consumer Debit Assessment Final Readout  |  Visa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8CDA6A-9332-408B-BC89-3CE760634B95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466916A-1A85-4539-B42A-68ACEF8D2C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740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</p15:sldGuideLst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mber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58AFA770-D7F0-4D2B-A47E-E283C9FBB1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9CE45557-2782-1C4D-9649-89829803926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599" y="1600200"/>
            <a:ext cx="8153401" cy="4610100"/>
          </a:xfrm>
        </p:spPr>
        <p:txBody>
          <a:bodyPr>
            <a:noAutofit/>
          </a:bodyPr>
          <a:lstStyle>
            <a:lvl1pPr marL="230188" indent="-230188">
              <a:lnSpc>
                <a:spcPct val="100000"/>
              </a:lnSpc>
              <a:spcBef>
                <a:spcPts val="1200"/>
              </a:spcBef>
              <a:spcAft>
                <a:spcPts val="800"/>
              </a:spcAft>
              <a:buFont typeface="+mj-lt"/>
              <a:buAutoNum type="arabicPeriod"/>
              <a:tabLst/>
              <a:defRPr sz="1600">
                <a:solidFill>
                  <a:schemeClr val="accent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/>
            </a:lvl2pPr>
            <a:lvl3pPr marL="4572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3pPr>
            <a:lvl4pPr marL="6858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edit numbering text styles</a:t>
            </a:r>
          </a:p>
          <a:p>
            <a:pPr lvl="2"/>
            <a:r>
              <a:rPr lang="en-US"/>
              <a:t>Second bullet level</a:t>
            </a:r>
          </a:p>
          <a:p>
            <a:pPr lvl="3"/>
            <a:r>
              <a:rPr lang="en-US"/>
              <a:t>Third bullet 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9B99707-631C-504C-957F-75DF92D4259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C748D62-F2B5-2B4A-9E6A-987900DA44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809BF2C-89DA-40FC-BDB4-F9F2327BD1B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B1CCE4-8767-470D-8DDB-B0AB133458C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C09B0FA0-282F-40CC-85DC-E4A28FCCAF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35C6D7B-9A5E-4D8D-80FF-834DC52D3D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08049A-1092-4F92-BD7B-6CFBFD7629D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|  Visa Consulting and Analytics  |  Hudson River CCU   |   Consumer Debit Assessment Final Readout  |  Visa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B562B25-DF6A-4760-93A9-F10381BC6BD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466916A-1A85-4539-B42A-68ACEF8D2C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755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-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98EDF07-72EA-CE41-A35E-2CE9B7FCED0C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5636F92-56A3-4048-9234-A4D4D6B1402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09600" y="1600200"/>
            <a:ext cx="10972800" cy="4610100"/>
          </a:xfrm>
        </p:spPr>
        <p:txBody>
          <a:bodyPr>
            <a:noAutofit/>
          </a:bodyPr>
          <a:lstStyle>
            <a:lvl1pPr marL="514350" marR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3200" b="0" i="0">
                <a:solidFill>
                  <a:schemeClr val="tx1"/>
                </a:solidFill>
                <a:latin typeface="Visa Dialect Medium" pitchFamily="2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05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05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5pPr>
            <a:lvl6pPr marL="685800" indent="-176213">
              <a:tabLst/>
              <a:defRPr sz="1050"/>
            </a:lvl6pPr>
          </a:lstStyle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  <a:p>
            <a:pPr marL="5143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Second level</a:t>
            </a:r>
          </a:p>
          <a:p>
            <a:pPr marL="514350" marR="0" lvl="2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Third level</a:t>
            </a:r>
          </a:p>
          <a:p>
            <a:pPr marL="514350" marR="0" lvl="3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ourth level</a:t>
            </a:r>
          </a:p>
          <a:p>
            <a:pPr marL="514350" marR="0" lvl="4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ifth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764807F4-3A5E-4790-8BFF-9F75F97358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A80DBE0-EA23-914C-BE1F-E2E9FA549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71262D7-4155-664A-A7EF-0F6CD92AC9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62BCEA-A68A-4769-B6ED-EF217FA5B7A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538CD4-8CE7-4DB6-9772-1D3E7895B31A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65FE215-5FF4-864B-8264-06F499FAE80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75D86DC9-F6BA-4387-8C60-CB216A9D65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CE84D87-A172-4A29-9AA7-2E671B4521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CD1E42B-CD23-4181-A5DE-AB72A5E37DFD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|  Visa Consulting and Analytics  |  Hudson River CCU   |   Consumer Debit Assessment Final Readout  |  Visa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4C1395-2BC2-4E3A-B70B-9F41020F36F3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466916A-1A85-4539-B42A-68ACEF8D2C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4839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FAAB2DA0-5560-4CFB-8BB1-FA929156A0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6863A02-5AA9-0045-86B9-CB65111A28F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5B523E-6B9A-3E4C-A8C8-39C38CC0B143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250640" y="1600200"/>
            <a:ext cx="5331759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348177B1-77DF-0E4E-A6DB-F730917346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CA431A8-80BE-3346-AEA4-3FE5EF0F87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D624208-192E-BD42-8C2C-D3FC7AB00F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C0911FF-6A58-4AC3-BA4B-74146AFF60A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889C50-093C-44CD-9F44-6167FE8E94F6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9" name="Rectangle 82">
            <a:extLst>
              <a:ext uri="{FF2B5EF4-FFF2-40B4-BE49-F238E27FC236}">
                <a16:creationId xmlns:a16="http://schemas.microsoft.com/office/drawing/2014/main" id="{27207AFF-D65F-44BB-ABE6-E36B7498F3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2C2FAEFA-FA42-4307-98E4-11FC0D3584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87FA629-E087-47C0-98B0-3DCF01C58FFB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US"/>
              <a:t>|  Visa Consulting and Analytics  |  Hudson River CCU   |   Consumer Debit Assessment Final Readout  |  Visa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6D8B735-8FA4-4DFA-B134-6BE015ED6AFA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9466916A-1A85-4539-B42A-68ACEF8D2C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599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1EF644C3-BD07-6F42-99C3-8410727AAF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2643202"/>
            <a:ext cx="5283200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CDC8C9A-A5A1-DC44-9C5A-22CFBA39C58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48400" y="2643202"/>
            <a:ext cx="5334003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ED0B6DA-B1AD-8E4B-8D28-00B2D6352F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5283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2A5599-054E-9A4C-941D-DEAF685255BE}"/>
              </a:ext>
            </a:extLst>
          </p:cNvPr>
          <p:cNvCxnSpPr>
            <a:cxnSpLocks/>
          </p:cNvCxnSpPr>
          <p:nvPr/>
        </p:nvCxnSpPr>
        <p:spPr>
          <a:xfrm>
            <a:off x="609601" y="2521444"/>
            <a:ext cx="5306479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3914B0B-B3F6-A24C-B306-C2DE3CCFF8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48400" y="1567214"/>
            <a:ext cx="53340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E64FE3A-369E-0945-9952-79DE2D0CB498}"/>
              </a:ext>
            </a:extLst>
          </p:cNvPr>
          <p:cNvCxnSpPr>
            <a:cxnSpLocks/>
          </p:cNvCxnSpPr>
          <p:nvPr/>
        </p:nvCxnSpPr>
        <p:spPr>
          <a:xfrm>
            <a:off x="6248400" y="2521444"/>
            <a:ext cx="53340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28027102-0F0C-44D6-B79F-C9D54C4E64B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687A00C-C9A6-DD42-9977-99993E7D4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6398BA2-811F-1C41-BC08-078B116D4ED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28E9757-427C-C249-9F47-223DCD7BF1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5C6B76-F1B3-4070-9AD9-721B1B3B1DD5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467C840-0571-4C02-AAFA-CE700D8B267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1" name="Rectangle 82">
            <a:extLst>
              <a:ext uri="{FF2B5EF4-FFF2-40B4-BE49-F238E27FC236}">
                <a16:creationId xmlns:a16="http://schemas.microsoft.com/office/drawing/2014/main" id="{835D992A-2A2E-4BE9-ACFF-BD1B9DE117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3A3102B0-7B34-461A-949A-FA77D39AA3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361183-34DC-46CF-943B-5F499EBF8172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|  Visa Consulting and Analytics  |  Hudson River CCU   |   Consumer Debit Assessment Final Readout  |  Visa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AF8E6D-C109-4942-8344-2250EFAC07C2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466916A-1A85-4539-B42A-68ACEF8D2C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9130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6863A02-5AA9-0045-86B9-CB65111A28F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5B523E-6B9A-3E4C-A8C8-39C38CC0B143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250640" y="1600200"/>
            <a:ext cx="5331759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348177B1-77DF-0E4E-A6DB-F730917346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CA431A8-80BE-3346-AEA4-3FE5EF0F87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32603E9-F896-455C-8C4D-C4428ACF0BA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A344FD-161D-4A35-B33E-DA10CAC2E897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359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1207722-B163-475D-B601-1EA08B6AAA4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67100" y="1600200"/>
            <a:ext cx="81153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894B221-FC17-F343-84FB-9C6A7B7059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25146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0AFA99D6-3597-42EC-A393-B1F699E91E7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157C6BA9-A888-C046-9D14-AD47E7120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6561AB5-5D81-0845-909C-25323AA17C5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1E59CE0-76E6-D84F-9E45-E33A3094777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70EE53B-2173-45C7-95D3-A8EF5A8655B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30520A-BC26-4AF2-B7EF-CC50B7B9D86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5" name="Rectangle 82">
            <a:extLst>
              <a:ext uri="{FF2B5EF4-FFF2-40B4-BE49-F238E27FC236}">
                <a16:creationId xmlns:a16="http://schemas.microsoft.com/office/drawing/2014/main" id="{734ABA07-E849-4755-AEBA-D67411DD5F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FBB3CC5-958D-4B14-96F7-56A70D24D0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1CC3147-8DFD-4039-878B-DEEFE28006C7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|  Visa Consulting and Analytics  |  Hudson River CCU   |   Consumer Debit Assessment Final Readout  |  Visa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BEDD2D1-BFE0-4244-BFAF-3CB6D630AC5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466916A-1A85-4539-B42A-68ACEF8D2C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041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184">
          <p15:clr>
            <a:srgbClr val="FBAE40"/>
          </p15:clr>
        </p15:guide>
        <p15:guide id="9" pos="1968">
          <p15:clr>
            <a:srgbClr val="FBAE40"/>
          </p15:clr>
        </p15:guide>
      </p15:sldGuideLst>
    </p:ext>
  </p:extLs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97E3760-1BB7-4A60-8487-48CE1416C62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B38E0FE-FC45-D24E-BA98-E5CF5EA47103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026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DB9E50E-54A6-D849-A7F6-8093341C8184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81872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0838D896-7B63-466B-9032-10DAC8EC8BC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059B729-C6AE-024A-A0B1-CCF305824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E35142D-D790-6240-9E1C-1A74471BC44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6E9EADE-B7E9-1548-BE93-F92FE33A9CC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F424B3-9043-41D5-BB73-D95ECFBE8A5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50AC662-696C-417C-B404-73EAB33987A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3" name="Rectangle 82">
            <a:extLst>
              <a:ext uri="{FF2B5EF4-FFF2-40B4-BE49-F238E27FC236}">
                <a16:creationId xmlns:a16="http://schemas.microsoft.com/office/drawing/2014/main" id="{71DBFB0C-1ECC-44C0-9D78-9FD9A29ABD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26EFA58-F5F2-4D22-B97F-A621909A84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035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4092CC5-4CE4-F14D-84E5-84942B23A7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339236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7756ABC-9266-214C-9F7B-E75E6FFA4963}"/>
              </a:ext>
            </a:extLst>
          </p:cNvPr>
          <p:cNvCxnSpPr>
            <a:cxnSpLocks/>
          </p:cNvCxnSpPr>
          <p:nvPr/>
        </p:nvCxnSpPr>
        <p:spPr>
          <a:xfrm>
            <a:off x="609601" y="2521444"/>
            <a:ext cx="3407308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9A161FA-C7FD-E645-A03F-D02DE0C8B2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19600" y="1567214"/>
            <a:ext cx="33528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9FB75EC-FDA1-D748-BDFC-0A34683F849E}"/>
              </a:ext>
            </a:extLst>
          </p:cNvPr>
          <p:cNvCxnSpPr>
            <a:cxnSpLocks/>
          </p:cNvCxnSpPr>
          <p:nvPr/>
        </p:nvCxnSpPr>
        <p:spPr>
          <a:xfrm>
            <a:off x="4419600" y="2521444"/>
            <a:ext cx="33528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30E2CEF-CCAC-CA4D-933F-027385DC49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78800" y="1567214"/>
            <a:ext cx="34036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6A0D02F-EE42-5B4C-BE0F-181D414229C6}"/>
              </a:ext>
            </a:extLst>
          </p:cNvPr>
          <p:cNvCxnSpPr>
            <a:cxnSpLocks/>
          </p:cNvCxnSpPr>
          <p:nvPr/>
        </p:nvCxnSpPr>
        <p:spPr>
          <a:xfrm>
            <a:off x="8178800" y="2521444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6CBFF784-7328-4B09-A4E9-1CD6CA2DDD1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E976D561-61ED-9B4A-B630-6E037061A8DD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12104" y="2628900"/>
            <a:ext cx="33527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BEE0402C-E2BF-DB44-AB66-828DA835BF0F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13310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2B04388-6E13-7143-8DB6-9C4E843A0AB8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8184004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318BDE0-5FD0-8D41-B77E-3DF3B75DE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1D12C16-1BB5-BC4F-B6F8-46FB22666D5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32ADFB7F-C7B5-A141-A05E-65D8E762C31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6F590C6-4DDD-48C4-A0F5-A86A02C9241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606489D-F18B-49E7-A430-AF0A802226B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9" name="Rectangle 82">
            <a:extLst>
              <a:ext uri="{FF2B5EF4-FFF2-40B4-BE49-F238E27FC236}">
                <a16:creationId xmlns:a16="http://schemas.microsoft.com/office/drawing/2014/main" id="{95324C5E-7673-4E81-B854-F9B46F10DC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2C1E5FC-54B6-4B67-941B-EA36974656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573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1656">
          <p15:clr>
            <a:srgbClr val="FBAE40"/>
          </p15:clr>
        </p15:guide>
      </p15:sldGuideLst>
    </p:ext>
  </p:extLs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13DA727-D0B5-5748-84C2-5C350C1088DF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1600200"/>
            <a:ext cx="2489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85C19EA8-0E28-4F5B-8F1D-27DD33CE3D5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EA5DA42-0A63-7149-B091-08D10F848F2E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1600200"/>
            <a:ext cx="2432423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ACB33F5F-6A95-C141-A4CB-F1354D41AD3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8CF80BC6-09DE-3740-8861-1869483A0ECD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41518C0-F58C-DA41-8B70-42DC6B9B5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93602B9-7F9B-AE4E-9BAF-34FC72E3CBF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95869B9-14BA-E94B-BFB4-EEEE6C185E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3B37F05-0F07-4AC7-AB0A-840C29CFAD7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F8EB945-89E4-4F5C-AABF-2F9F526C155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0" name="Rectangle 82">
            <a:extLst>
              <a:ext uri="{FF2B5EF4-FFF2-40B4-BE49-F238E27FC236}">
                <a16:creationId xmlns:a16="http://schemas.microsoft.com/office/drawing/2014/main" id="{8865593A-D405-4DD1-826B-23DB658C4C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CFD26917-46AC-48E4-A400-D514EE136D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443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70B93C1-A913-6949-9E7A-C612BA63F6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66616FA-1027-5A4A-AC2C-E2DC86D90196}"/>
              </a:ext>
            </a:extLst>
          </p:cNvPr>
          <p:cNvCxnSpPr>
            <a:cxnSpLocks/>
          </p:cNvCxnSpPr>
          <p:nvPr/>
        </p:nvCxnSpPr>
        <p:spPr>
          <a:xfrm>
            <a:off x="6096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5070E2-249F-2E41-8903-2C611249DB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EB18407-6858-9A4B-92C4-92013BAEACC6}"/>
              </a:ext>
            </a:extLst>
          </p:cNvPr>
          <p:cNvCxnSpPr>
            <a:cxnSpLocks/>
          </p:cNvCxnSpPr>
          <p:nvPr/>
        </p:nvCxnSpPr>
        <p:spPr>
          <a:xfrm>
            <a:off x="3454400" y="2521444"/>
            <a:ext cx="24384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A618BCB-5657-E640-B496-300C09D2BD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3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2571815-7AC9-4A48-8176-16337A1C25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8CA6EDF-309F-9C43-88A2-C720D2079C09}"/>
              </a:ext>
            </a:extLst>
          </p:cNvPr>
          <p:cNvCxnSpPr>
            <a:cxnSpLocks/>
          </p:cNvCxnSpPr>
          <p:nvPr/>
        </p:nvCxnSpPr>
        <p:spPr>
          <a:xfrm>
            <a:off x="90932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F0A98B5-2885-FC4B-8E93-11E6853D6063}"/>
              </a:ext>
            </a:extLst>
          </p:cNvPr>
          <p:cNvCxnSpPr>
            <a:cxnSpLocks/>
          </p:cNvCxnSpPr>
          <p:nvPr/>
        </p:nvCxnSpPr>
        <p:spPr>
          <a:xfrm>
            <a:off x="6248403" y="2521444"/>
            <a:ext cx="2489197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 descr="Logo&#10;&#10;Description automatically generated">
            <a:extLst>
              <a:ext uri="{FF2B5EF4-FFF2-40B4-BE49-F238E27FC236}">
                <a16:creationId xmlns:a16="http://schemas.microsoft.com/office/drawing/2014/main" id="{09356D0A-AA64-4DB5-96FB-8733B828976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1631775-8D64-4341-A917-ACCA02A442D2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2628900"/>
            <a:ext cx="2489200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4E99E6E9-2494-B940-B1EF-092C3EADC772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2628900"/>
            <a:ext cx="2432423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819DCF24-1964-3644-9168-FF49E2A566D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CF5FC023-DCB7-9848-9776-BCD9A603067E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8EC50DE8-D067-984E-9012-11FC27E62E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7D501EE-A03D-D64F-A115-5ECD03AA3F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D59275F-6240-2347-801C-D9B63A23481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CF193E4-ADC4-4233-AEA9-ABE6800A232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5A837DC-6429-46C6-A734-03312F3E3B0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30" name="Rectangle 82">
            <a:extLst>
              <a:ext uri="{FF2B5EF4-FFF2-40B4-BE49-F238E27FC236}">
                <a16:creationId xmlns:a16="http://schemas.microsoft.com/office/drawing/2014/main" id="{EA550C6F-2DC9-4D86-97C7-E888B0709B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28DF78A-ACD7-49E6-B3C8-4373BE61BC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620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0659210-753C-4957-8F25-A4D709FAB681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28DF06C-CFDC-2447-B7D4-E75EC0431F79}"/>
              </a:ext>
            </a:extLst>
          </p:cNvPr>
          <p:cNvCxnSpPr>
            <a:cxnSpLocks/>
          </p:cNvCxnSpPr>
          <p:nvPr/>
        </p:nvCxnSpPr>
        <p:spPr>
          <a:xfrm>
            <a:off x="60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F1E348A8-D8AD-8342-95C4-1E731B229D5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636295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BE5757E-813A-8F48-9A5A-EEC1071594D2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45273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7" name="Picture Placeholder 2">
            <a:extLst>
              <a:ext uri="{FF2B5EF4-FFF2-40B4-BE49-F238E27FC236}">
                <a16:creationId xmlns:a16="http://schemas.microsoft.com/office/drawing/2014/main" id="{95C65A02-D19F-294F-BC73-89CD66DB23DC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269171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pic>
        <p:nvPicPr>
          <p:cNvPr id="28" name="Picture 27" descr="Logo&#10;&#10;Description automatically generated">
            <a:extLst>
              <a:ext uri="{FF2B5EF4-FFF2-40B4-BE49-F238E27FC236}">
                <a16:creationId xmlns:a16="http://schemas.microsoft.com/office/drawing/2014/main" id="{D17E29F1-6D41-4628-913F-B22462B1C5B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0C183E4-86E4-6940-9A6D-E9DE7740EFA7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13310" y="3379809"/>
            <a:ext cx="340359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3ECD2BF-4248-F14F-AB63-732DFF2D5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8DA343F-1525-584F-88BA-86B0FE83B43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EE7EA97-253E-FB40-B94E-BE9389B08B5F}"/>
              </a:ext>
            </a:extLst>
          </p:cNvPr>
          <p:cNvCxnSpPr>
            <a:cxnSpLocks/>
          </p:cNvCxnSpPr>
          <p:nvPr/>
        </p:nvCxnSpPr>
        <p:spPr>
          <a:xfrm>
            <a:off x="441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BE90A3C5-FAC6-4A4A-B289-095811B7B144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423311" y="3379809"/>
            <a:ext cx="3349090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A926BB4-EEF2-5A49-844D-B93A3BB53E82}"/>
              </a:ext>
            </a:extLst>
          </p:cNvPr>
          <p:cNvCxnSpPr>
            <a:cxnSpLocks/>
          </p:cNvCxnSpPr>
          <p:nvPr/>
        </p:nvCxnSpPr>
        <p:spPr>
          <a:xfrm>
            <a:off x="81915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B46288C4-4A89-B443-8199-6DBD23F67C2B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8195210" y="3379809"/>
            <a:ext cx="339988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8D0F15B-D16C-1944-9EC2-DED14D92BDA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2BE0D9F-95D1-4003-A390-8D48D1D3680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FD9C543-41B1-4AA5-9309-C44DBC35EA1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5" name="Rectangle 82">
            <a:extLst>
              <a:ext uri="{FF2B5EF4-FFF2-40B4-BE49-F238E27FC236}">
                <a16:creationId xmlns:a16="http://schemas.microsoft.com/office/drawing/2014/main" id="{DE2DD1E8-5330-413D-9F31-068931B3A2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0FA43899-F5E8-4553-B9A7-947E54FF58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81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2040">
          <p15:clr>
            <a:srgbClr val="FBAE40"/>
          </p15:clr>
        </p15:guide>
      </p15:sldGuideLst>
    </p:ext>
  </p:extLs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89BE8A8-1D24-0141-85A7-333554C30119}"/>
              </a:ext>
            </a:extLst>
          </p:cNvPr>
          <p:cNvCxnSpPr>
            <a:cxnSpLocks/>
          </p:cNvCxnSpPr>
          <p:nvPr/>
        </p:nvCxnSpPr>
        <p:spPr>
          <a:xfrm>
            <a:off x="609600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A0458D0-DECB-7844-94C6-EFB2F9402D5A}"/>
              </a:ext>
            </a:extLst>
          </p:cNvPr>
          <p:cNvCxnSpPr>
            <a:cxnSpLocks/>
          </p:cNvCxnSpPr>
          <p:nvPr/>
        </p:nvCxnSpPr>
        <p:spPr>
          <a:xfrm>
            <a:off x="3453977" y="3242438"/>
            <a:ext cx="244368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48E85A-F259-CF49-BE34-708227EC6828}"/>
              </a:ext>
            </a:extLst>
          </p:cNvPr>
          <p:cNvCxnSpPr>
            <a:cxnSpLocks/>
          </p:cNvCxnSpPr>
          <p:nvPr/>
        </p:nvCxnSpPr>
        <p:spPr>
          <a:xfrm>
            <a:off x="6257308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8AC0041-3EAA-134B-978F-4B02C0FF045F}"/>
              </a:ext>
            </a:extLst>
          </p:cNvPr>
          <p:cNvCxnSpPr>
            <a:cxnSpLocks/>
          </p:cNvCxnSpPr>
          <p:nvPr/>
        </p:nvCxnSpPr>
        <p:spPr>
          <a:xfrm>
            <a:off x="9097177" y="3242438"/>
            <a:ext cx="2489201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94D37605-9A74-406B-A28B-01434EC535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390D2F0-3AD5-4F47-A10B-E047B365B1A9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3391762"/>
            <a:ext cx="2489200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0399C588-DBAD-2742-B89F-D479F30059DC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3391762"/>
            <a:ext cx="2432423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CB9B4B18-23D4-6E42-8831-4A20A413C64A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7B833A7B-9585-DC41-B130-684A63887C7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9087971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CAA2DFC-CB9D-694C-955F-30EA6BD3C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E065487-BF64-9342-A721-6A8BA2B8CF6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C0303739-0C13-CC4B-8202-FEEEAAB3C12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244600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BC6978E9-423F-9244-9FF8-DCD46EBA565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07379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48D3479E-1D17-DF4D-840E-0E14AA554B7C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902984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95A82027-A669-A245-99A2-2D77B7D1A97E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732177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3DE5F9E-3746-BC42-92AB-FEDCED42D71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DEAD3E0-81AC-41A7-B02C-F7C8E3C276C5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4CA7DE8-127A-4C0C-867D-2DAABF999D8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34" name="Rectangle 82">
            <a:extLst>
              <a:ext uri="{FF2B5EF4-FFF2-40B4-BE49-F238E27FC236}">
                <a16:creationId xmlns:a16="http://schemas.microsoft.com/office/drawing/2014/main" id="{61E28B04-8472-416E-B22B-550F0097ED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2BC05130-19EA-4277-8EFF-8F83DF90F8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315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04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92D46C0-E581-4328-BA0D-DC338A15645F}"/>
              </a:ext>
            </a:extLst>
          </p:cNvPr>
          <p:cNvSpPr/>
          <p:nvPr/>
        </p:nvSpPr>
        <p:spPr>
          <a:xfrm>
            <a:off x="-1" y="0"/>
            <a:ext cx="755620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455917-5D69-4B31-B459-CEA3616D55C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C4B767-72FE-4F41-A667-B94ACBB19DB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7F4FCB1-DF84-4814-9FFE-5E51FB46672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31B887E-1D14-B443-ACD5-1A404FA009A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8" name="Rectangle 82">
            <a:extLst>
              <a:ext uri="{FF2B5EF4-FFF2-40B4-BE49-F238E27FC236}">
                <a16:creationId xmlns:a16="http://schemas.microsoft.com/office/drawing/2014/main" id="{A9094A23-9529-40F6-8B6B-98D432DA91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8AB3269-A147-4CA5-B240-4B9657711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346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Yellow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37E9115E-63DF-4133-A626-4F14A7DBBDDE}"/>
              </a:ext>
            </a:extLst>
          </p:cNvPr>
          <p:cNvSpPr/>
          <p:nvPr/>
        </p:nvSpPr>
        <p:spPr>
          <a:xfrm>
            <a:off x="0" y="0"/>
            <a:ext cx="181722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455917-5D69-4B31-B459-CEA3616D55C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C4B767-72FE-4F41-A667-B94ACBB19DB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634F3A4-2E2A-344D-B907-C0C95A55CA6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5FB4FCC-3325-C845-9B15-E71FF67E5B1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Rectangle 82">
            <a:extLst>
              <a:ext uri="{FF2B5EF4-FFF2-40B4-BE49-F238E27FC236}">
                <a16:creationId xmlns:a16="http://schemas.microsoft.com/office/drawing/2014/main" id="{601852A1-73A4-4732-BEB2-AA892565DA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92AB0B1-437C-42D7-BD80-B4336B7DA4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497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457200"/>
            <a:ext cx="5334000" cy="5753100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A3EE50D-9DEA-9149-9049-FE0CE78B8409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6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2D5873B9-237F-4029-81C3-7DF4AE7E4F4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507D2AF-B968-8540-AB96-D7091A82A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6C401AA-42D6-3744-80D1-D2B7F64C7D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A396B81-A8CC-6A49-B843-D30A7CDAE7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139E18C-9244-4F8E-8874-0A704B4D19F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48614B-99AB-4109-AE47-2860B4C761C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82">
            <a:extLst>
              <a:ext uri="{FF2B5EF4-FFF2-40B4-BE49-F238E27FC236}">
                <a16:creationId xmlns:a16="http://schemas.microsoft.com/office/drawing/2014/main" id="{42A1717F-C6EA-400D-8E10-C6C4E7DCCB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20B357F-CA40-448C-B1C7-B0455246EF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7609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1EF644C3-BD07-6F42-99C3-8410727AAF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2643202"/>
            <a:ext cx="5283200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CDC8C9A-A5A1-DC44-9C5A-22CFBA39C58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48400" y="2643202"/>
            <a:ext cx="5334003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ED0B6DA-B1AD-8E4B-8D28-00B2D6352F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5283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2A5599-054E-9A4C-941D-DEAF685255BE}"/>
              </a:ext>
            </a:extLst>
          </p:cNvPr>
          <p:cNvCxnSpPr>
            <a:cxnSpLocks/>
          </p:cNvCxnSpPr>
          <p:nvPr/>
        </p:nvCxnSpPr>
        <p:spPr>
          <a:xfrm>
            <a:off x="609601" y="2521444"/>
            <a:ext cx="5306479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3914B0B-B3F6-A24C-B306-C2DE3CCFF8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48400" y="1567214"/>
            <a:ext cx="53340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E64FE3A-369E-0945-9952-79DE2D0CB498}"/>
              </a:ext>
            </a:extLst>
          </p:cNvPr>
          <p:cNvCxnSpPr>
            <a:cxnSpLocks/>
          </p:cNvCxnSpPr>
          <p:nvPr/>
        </p:nvCxnSpPr>
        <p:spPr>
          <a:xfrm>
            <a:off x="6248400" y="2521444"/>
            <a:ext cx="53340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687A00C-C9A6-DD42-9977-99993E7D4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6398BA2-811F-1C41-BC08-078B116D4ED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F208A2F-1CE2-478F-9445-C3E1B5FE1E0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AD6916B-7D24-4068-A978-ADD2B43C541A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108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09600" y="1600201"/>
            <a:ext cx="5283200" cy="3145055"/>
          </a:xfrm>
          <a:solidFill>
            <a:schemeClr val="tx2"/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656EAC5-6B5F-4341-86FF-B7369C9AD23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258044" y="1600201"/>
            <a:ext cx="53340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AFFEF14-326C-4366-BE6C-30F2EAEF06F4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FCD28B-5132-4352-9BA2-B2C48B333EB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0" y="4911693"/>
            <a:ext cx="5283200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C7F8A7A-3661-4A31-988A-37E7A64D4614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E7769BF2-3A16-429E-971C-E2ED4641AE3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13355B2A-3761-9B4A-A6CC-D82F751C5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9978769-6475-654F-8177-443C3A323D9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6CC2593-E020-1C41-B3F8-AD259BDD41F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58044" y="4911693"/>
            <a:ext cx="5324355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2626E75-A294-2F49-9D2A-F258BBC50F5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C109CE-3B47-410F-91BB-711F45926B4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5D53B0-AEE2-473F-B917-B8042CA583E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9" name="Rectangle 82">
            <a:extLst>
              <a:ext uri="{FF2B5EF4-FFF2-40B4-BE49-F238E27FC236}">
                <a16:creationId xmlns:a16="http://schemas.microsoft.com/office/drawing/2014/main" id="{AE31517B-3CE4-4A4E-97D5-9307E6C71A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58D9A30E-50F8-431F-BBD7-9157F79365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370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3096">
          <p15:clr>
            <a:srgbClr val="FBAE40"/>
          </p15:clr>
        </p15:guide>
      </p15:sldGuideLst>
    </p:ext>
  </p:extLs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E527502-AB0B-EA4C-93C1-E50D3BB46A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09600" y="1600201"/>
            <a:ext cx="34036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6B953B14-58B5-F64D-856E-665137C4F44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429455" y="1600201"/>
            <a:ext cx="3352801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D14F8D7C-7F6F-6143-9DE4-868B2E38A178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178797" y="1600201"/>
            <a:ext cx="3403603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089D5E7F-92DB-4D31-82AD-6D3677153D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472EF8D-56BE-AB48-A5F9-187114E95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5C8DF82-7F60-4849-A43B-8F4B9B5F0CA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CDCA026-D514-4D4B-AB98-08252DB87D8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09600" y="4911693"/>
            <a:ext cx="3423314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DF9BFF8-0532-EE45-9739-4B50F601F77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429245" y="4911693"/>
            <a:ext cx="3343155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82BB9B5-C539-B147-9A3E-C09EB047C38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91017" y="4911693"/>
            <a:ext cx="3403603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301442EF-174F-7C4C-948C-81FD2937D96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860610A-3A2F-41F6-A572-17E0B5918ED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B1B5DF1-398E-4039-9FEB-B800C1345BAB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3" name="Rectangle 82">
            <a:extLst>
              <a:ext uri="{FF2B5EF4-FFF2-40B4-BE49-F238E27FC236}">
                <a16:creationId xmlns:a16="http://schemas.microsoft.com/office/drawing/2014/main" id="{CA8C260F-0CCF-45E2-AF57-3E583D3AE0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F6E9724B-A7B5-4B2A-8B28-741A3F8BBF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592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Tw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56BCCFD-B912-2F49-AE52-7814FFDCB534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832065A-C6D7-614D-A733-535BCA5ADF1B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8"/>
            <a:ext cx="5334000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7C7B404-7F93-AD4C-BE41-E5247D351B57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248399" y="471458"/>
            <a:ext cx="5334001" cy="273196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7B25303E-21E4-4DA8-B538-6050CF5B75B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A5108AEE-9096-4643-8AFA-8EFF143BF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7962758-65CF-1D46-ADE8-60345727EDE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62937F0-7412-EA41-B511-EA81EB0FE83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1CFCE6-4389-4631-971B-C5551A0173C9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B961A7C-FF07-4129-BD07-6DC2F260A1D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82">
            <a:extLst>
              <a:ext uri="{FF2B5EF4-FFF2-40B4-BE49-F238E27FC236}">
                <a16:creationId xmlns:a16="http://schemas.microsoft.com/office/drawing/2014/main" id="{B1B89650-1F66-4052-A9A9-67F248E2A3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11C233F7-CA56-43DD-BA29-A334B67DC0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476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Thre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90AF7A3C-BA0F-9B49-B1B5-D713C19139C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2"/>
            <a:ext cx="5346192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61755EBA-80EC-6B4F-B350-DC2DD71209FC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455C0536-27A6-644D-8348-9541070F401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248400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B3F5BBC4-47E5-1E46-9E4F-B0D0BB7BAB04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001094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0D0C48DC-3206-40BC-A585-F0FD6F0BB78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38045DB-4C64-CE4D-B8E5-9949681D1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B569F93-B18A-C246-94EF-34A7D4EDD94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42BCFDB-7549-A74E-9341-258E6AB17A0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4E2A106-4F39-4E97-BFB5-DFFCCB4056E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40BDDF-AEFD-4BE1-9247-7302A27E82D6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0AA8200B-94AD-4E3A-9452-3DA219FF8B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D9D5722-E9DB-4867-A638-593AAD071C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763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248400" y="3308593"/>
            <a:ext cx="5346192" cy="2726853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A2E6023-8A40-1E44-BD81-EED366C96875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001094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65C3A6A-0967-1E4F-8831-6EA71CD06F5D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09600" y="1081613"/>
            <a:ext cx="5486399" cy="495382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D023B447-C472-4FFB-8146-9C4B4AB0C67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1FAB2697-2712-FE45-8DA0-EF63106E2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69977AA-16BB-0C4F-A664-D6686D72F1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2E3B1F5-C5F5-B945-9146-E3FE66ADCC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2CA8F6-DF4D-4772-AB33-EC493EEF4B9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988813-B187-455D-85DF-CBB5882CF1AA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AF411E5E-09DF-4E28-BE6E-3BC247AC4B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4E4D1E69-DB61-4528-810A-8CE6E03B78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281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pos="3840">
          <p15:clr>
            <a:srgbClr val="FBAE40"/>
          </p15:clr>
        </p15:guide>
      </p15:sldGuideLst>
    </p:ext>
  </p:extLs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031890" y="-10673"/>
            <a:ext cx="4160109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FBB367A8-8DCC-6847-8D30-74516D9E043C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031889" y="2390327"/>
            <a:ext cx="4160111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32A0B33A-CF8B-1947-ACB2-AB69665D80A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-1" y="1380745"/>
            <a:ext cx="7303008" cy="5477257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5263181-B1D9-4115-9FC4-9CE6FD8E5B0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FDD1D1A5-5D9F-764D-A02B-21CB1442F7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FF61E78-AFFB-F44B-BFDB-C2B5875FA03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7BB4FD-6BC9-4C9C-8922-DD575DD56B1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7A549D4-3018-4CAF-B7B1-806723A2E4F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0724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59DC62E-7380-5A49-8746-53EFA12DC6E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1" y="1600201"/>
            <a:ext cx="2946400" cy="3619500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3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300"/>
              </a:spcBef>
              <a:defRPr sz="1400"/>
            </a:lvl3pPr>
            <a:lvl4pPr>
              <a:lnSpc>
                <a:spcPct val="100000"/>
              </a:lnSpc>
              <a:spcBef>
                <a:spcPts val="3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3CFF718-B5F0-3D45-A03C-81D5E2147CD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973689" y="2816352"/>
            <a:ext cx="7608711" cy="3124200"/>
          </a:xfrm>
        </p:spPr>
        <p:txBody>
          <a:bodyPr wrap="square" anchor="b" anchorCtr="0"/>
          <a:lstStyle>
            <a:lvl1pPr algn="r">
              <a:lnSpc>
                <a:spcPts val="18500"/>
              </a:lnSpc>
              <a:spcBef>
                <a:spcPts val="0"/>
              </a:spcBef>
              <a:defRPr sz="25000" b="0" i="0" kern="0" spc="-1000" baseline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E2D2F661-3E7F-4601-B99E-2135C7ADBC6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952DD641-DB3B-6F45-8A70-05A69559D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747253A-0C59-CE4B-BC84-E5D8D706360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6FCD28A-7F94-9C4F-A31C-BF109312526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4437C85-71C1-4965-98AA-AB322A645B0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D4069C1-CB70-47E8-BE89-934AD89EEC3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0C740D10-9B97-44BE-95CE-85CE3FC26E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7CFDDEBB-1A5D-495C-9562-C31BD2590B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500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496">
          <p15:clr>
            <a:srgbClr val="FBAE40"/>
          </p15:clr>
        </p15:guide>
        <p15:guide id="9" pos="2240">
          <p15:clr>
            <a:srgbClr val="FBAE40"/>
          </p15:clr>
        </p15:guide>
        <p15:guide id="10" orient="horz" pos="3288">
          <p15:clr>
            <a:srgbClr val="FBAE40"/>
          </p15:clr>
        </p15:guide>
      </p15:sldGuideLst>
    </p:ext>
  </p:extLs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600201"/>
            <a:ext cx="5283200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7D909CE-D30F-4445-9B83-FD490780AD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" y="4745032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E55C82F-13DC-204D-866F-573A53A30E3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8400" y="4739396"/>
            <a:ext cx="53340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600201"/>
            <a:ext cx="5328355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55A8E6FD-35F4-417D-9B41-7DE2887E7D7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75B0F87-EFC2-B148-AC62-E7EDC82B6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F63A11A-E0DC-C441-8C0C-0C92B7CC32E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AAE6A4A-48A8-1C40-A6AE-398355A5309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AAA50A3-83EF-4952-8632-FFE353522B47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A21BB5-F73D-4D3A-9933-F159EB15525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4" name="Rectangle 82">
            <a:extLst>
              <a:ext uri="{FF2B5EF4-FFF2-40B4-BE49-F238E27FC236}">
                <a16:creationId xmlns:a16="http://schemas.microsoft.com/office/drawing/2014/main" id="{73567009-B66A-43BE-BD71-850B1B769B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5E3CD348-086A-4EF0-99C7-DBD451CA3C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958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331449"/>
            <a:ext cx="4462271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33144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E260A1A-688B-774C-903C-0A3A1228859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09600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BF07118-053B-414A-A34E-2E71FB891D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66688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884995DE-D9B7-F74A-9A09-BC6B33E180B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09601" y="3663169"/>
            <a:ext cx="4462272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397435F2-C0C2-E842-AD20-5B59B875A84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4045" y="366316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8CC7B25-E7E3-7A4F-9221-95D452FB9BF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9600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0496160-F36D-7148-9711-3D00BA6DF6B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66688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40A50952-A356-4EB0-8B8C-C588EE15A9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850DE0C8-C2ED-EF4F-9321-CC3341907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91112C-9FF7-DE43-AF82-37C4452C4F3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23A338C-009A-CB4B-BC74-339517B20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A71106C-2D60-4B3B-9163-BD2E616B86A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3CD4302-0E8F-4769-AB5B-7BD122BAF5D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9" name="Rectangle 82">
            <a:extLst>
              <a:ext uri="{FF2B5EF4-FFF2-40B4-BE49-F238E27FC236}">
                <a16:creationId xmlns:a16="http://schemas.microsoft.com/office/drawing/2014/main" id="{B4A4D5CF-C4C7-450C-9334-31DAE7973B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BD5B6EC9-6C56-4B67-B97E-62C7608F72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532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CF991D5-199B-426D-9571-F9BA920D307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B04D166-4958-9349-BD73-4AD540758D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10202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D83C91-857A-4B26-8D8A-56951DA295AF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7981E2-A37D-44F7-9BC3-BADD5267227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07FB442-219B-44B4-AD5F-F32C15ED6B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3" name="Rectangle 82">
            <a:extLst>
              <a:ext uri="{FF2B5EF4-FFF2-40B4-BE49-F238E27FC236}">
                <a16:creationId xmlns:a16="http://schemas.microsoft.com/office/drawing/2014/main" id="{5DEB0253-B61C-4C06-B8BF-8EE16408EB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088108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1207722-B163-475D-B601-1EA08B6AAA4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67100" y="1600200"/>
            <a:ext cx="81153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894B221-FC17-F343-84FB-9C6A7B7059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25146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157C6BA9-A888-C046-9D14-AD47E7120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6561AB5-5D81-0845-909C-25323AA17C5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6177C2-A046-4358-BC4A-F6CFABD1D9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7FB64C-A019-44C0-B2AD-58A535AA5A8A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3888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184">
          <p15:clr>
            <a:srgbClr val="FBAE40"/>
          </p15:clr>
        </p15:guide>
        <p15:guide id="9" pos="1968">
          <p15:clr>
            <a:srgbClr val="FBAE40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Gray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C7F45CD2-0507-4E64-B158-16FDC542385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E99A931-BFA9-5441-87EA-3CF04D1426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102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23A58EC-AF56-4ACE-99F7-40FDEFE6CA3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FF630E-A1BB-4624-BDA0-23B817EB760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8" name="Rectangle 82">
            <a:extLst>
              <a:ext uri="{FF2B5EF4-FFF2-40B4-BE49-F238E27FC236}">
                <a16:creationId xmlns:a16="http://schemas.microsoft.com/office/drawing/2014/main" id="{5EEC0B24-129B-4EC5-975C-C51DF6D5D4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77B03D-52D0-44B7-A11D-C6D7C8F4D6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369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42602" y="2091325"/>
            <a:ext cx="7906795" cy="2675350"/>
          </a:xfrm>
        </p:spPr>
        <p:txBody>
          <a:bodyPr anchor="ctr" anchorCtr="0">
            <a:norm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 algn="ctr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C7D283C-70D9-4F79-8CCF-D2CBB0F3466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pic>
        <p:nvPicPr>
          <p:cNvPr id="10" name="Picture 9" descr="Logo, icon, company name&#10;&#10;Description automatically generated">
            <a:extLst>
              <a:ext uri="{FF2B5EF4-FFF2-40B4-BE49-F238E27FC236}">
                <a16:creationId xmlns:a16="http://schemas.microsoft.com/office/drawing/2014/main" id="{C96BA8FE-3771-B54A-859B-C75E4B87088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303323"/>
            <a:ext cx="2934502" cy="1645920"/>
          </a:xfrm>
          <a:prstGeom prst="rect">
            <a:avLst/>
          </a:prstGeom>
        </p:spPr>
      </p:pic>
      <p:pic>
        <p:nvPicPr>
          <p:cNvPr id="11" name="Picture 10" descr="Logo, icon, company name&#10;&#10;Description automatically generated">
            <a:extLst>
              <a:ext uri="{FF2B5EF4-FFF2-40B4-BE49-F238E27FC236}">
                <a16:creationId xmlns:a16="http://schemas.microsoft.com/office/drawing/2014/main" id="{2EEAE64F-E79B-A540-A03C-DED1488A624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4908758"/>
            <a:ext cx="2934502" cy="164592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BC7BAB9-5828-4672-9095-605C815C6DA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214915C-8206-4E74-A63E-C99114665ED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2">
            <a:extLst>
              <a:ext uri="{FF2B5EF4-FFF2-40B4-BE49-F238E27FC236}">
                <a16:creationId xmlns:a16="http://schemas.microsoft.com/office/drawing/2014/main" id="{CA75BB9F-E74B-4526-972F-61B0B867B6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8EE9B830-85A7-4002-B6FF-31E4D6C812F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0199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- Phot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6B00F83-3660-194B-97E0-4599783E67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881BD6-5C0C-4CDA-94FE-9534E908DD6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C31686-0601-49A1-A560-B36639F0D21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5B4EFF-0041-084A-B0F9-54D99AB17BB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DC41F9E0-99DE-4EF6-BE3B-F2A540D376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3" name="Rectangle 82">
            <a:extLst>
              <a:ext uri="{FF2B5EF4-FFF2-40B4-BE49-F238E27FC236}">
                <a16:creationId xmlns:a16="http://schemas.microsoft.com/office/drawing/2014/main" id="{BD655E7D-751C-49ED-A7A4-343B011DCE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937484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- Phot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5E62AD0-7492-9248-A420-17A87723997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3810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345161-A988-430F-8F5D-2140002DC367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D2F956-51D0-4CEA-A8C6-557C9124840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D296CD9-FDC7-E14B-9F75-98F387A88DF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A7AD0F4A-2811-4BB3-BD43-574EFBED6B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D097AEDD-6F7D-491E-9022-5367E211A5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688506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3636A9D-BC65-4B42-A456-9F235FD32DA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6B624A7-6C4C-4B8C-B311-91708EF3AD8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97C293-4151-4F45-BEFC-FBBBEE255F6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DE94B9AF-D958-42B7-9E0F-43B000094F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4663C675-43E6-4D1C-ACEB-414C5A3B8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115033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F090D58-AEDB-42F6-B499-08E75F7E159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64CFA36-6835-0746-9840-0E0BCAB2C9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516909-E1B2-444A-B3A8-7FCD52854FA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4AB5A1-60F2-4271-9FAC-E31461C114A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BB4048D-0888-4E8F-A04B-FB880F2766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2" name="Rectangle 82">
            <a:extLst>
              <a:ext uri="{FF2B5EF4-FFF2-40B4-BE49-F238E27FC236}">
                <a16:creationId xmlns:a16="http://schemas.microsoft.com/office/drawing/2014/main" id="{0E46A227-F641-47B1-9A58-5EEE3D8879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918393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E1D89F0-AB54-E544-B426-C59272FE43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611252"/>
            <a:ext cx="5784219" cy="1817748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6337524D-5A5E-48A2-BEB4-E3CD8A10DC4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112A3CB-66FF-49A9-9F83-DC384BD34AB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71590D-A924-4EC3-8C0E-CF38A11B8CCB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7287E25B-F496-48FB-A1F3-00BF981BCF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B2F443A-4766-448A-A9C1-4F04BB2A7F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3550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A4E5295-54E4-5142-89B4-6296C4B8CF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E79ADCA6-5135-4529-BEBF-9555A7E463A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38F4279-0F64-1745-A6B8-C2704BC5A301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-830952" y="457200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63AACBE6-E182-6345-AFB0-E51AFD9846EE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10741427" y="3920825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B2706E-392F-4651-A72C-C804CD1AD8B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0567C7-587B-4D80-9DC9-AE3BEC155FE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0" name="Rectangle 82">
            <a:extLst>
              <a:ext uri="{FF2B5EF4-FFF2-40B4-BE49-F238E27FC236}">
                <a16:creationId xmlns:a16="http://schemas.microsoft.com/office/drawing/2014/main" id="{55E5992C-6B07-4C78-96F0-0182579C06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8E6F422-E210-43D8-AADA-2220E8CA49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269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Quote - Photo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F536B2A-9621-8D43-9647-6BD326BB0E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F7283E-B18E-4891-9644-6A173F99F93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B3F41F-14AC-40D6-B66D-AAEADBE8496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320A0BB-A1CC-7340-BA3E-73149B252C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9" name="Rectangle 82">
            <a:extLst>
              <a:ext uri="{FF2B5EF4-FFF2-40B4-BE49-F238E27FC236}">
                <a16:creationId xmlns:a16="http://schemas.microsoft.com/office/drawing/2014/main" id="{9529F147-079C-485E-8EB3-35E144D227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CC11AF5-2860-4542-A810-735AFA563F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070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F768C6C-CF58-204D-9B49-15E274BCFB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533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C770A6F-4F30-4069-B2E6-125B0281942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512FA1-C9F4-4FC5-8840-41326195738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34EFCDF-3A0F-A74C-8E18-D7C3D5D52FF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6E295A5-5AF7-4927-9ACA-D07BFA3124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C1B4EE23-3E7F-4607-8598-62877FA813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276758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97E3760-1BB7-4A60-8487-48CE1416C62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B38E0FE-FC45-D24E-BA98-E5CF5EA47103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026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DB9E50E-54A6-D849-A7F6-8093341C8184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81872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059B729-C6AE-024A-A0B1-CCF305824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E35142D-D790-6240-9E1C-1A74471BC44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963A5A3-E04E-42F1-9AC5-0650306BD89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CFF1710-D399-446D-A053-627815A24ED0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800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C9001175-7075-1645-A2F8-5CFF254A79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4098631"/>
            <a:ext cx="5486400" cy="255210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For more information, please contact: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7BDC76E-3EAD-FF42-A2C0-030580EC536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600" y="4456611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31DD59B-560C-1E42-BC4F-D82BCCB9388E}"/>
              </a:ext>
            </a:extLst>
          </p:cNvPr>
          <p:cNvCxnSpPr>
            <a:cxnSpLocks/>
          </p:cNvCxnSpPr>
          <p:nvPr/>
        </p:nvCxnSpPr>
        <p:spPr>
          <a:xfrm>
            <a:off x="609600" y="4369549"/>
            <a:ext cx="5283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038108E8-A91B-544B-AE58-E579F97F32F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60494" y="4456611"/>
            <a:ext cx="5321905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92F71DB-5BDC-4740-BCA4-437EB0A68AB1}"/>
              </a:ext>
            </a:extLst>
          </p:cNvPr>
          <p:cNvCxnSpPr>
            <a:cxnSpLocks/>
          </p:cNvCxnSpPr>
          <p:nvPr/>
        </p:nvCxnSpPr>
        <p:spPr>
          <a:xfrm>
            <a:off x="6260496" y="4369549"/>
            <a:ext cx="5321905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8DC9CEBF-A997-3847-A730-F505EFD8210D}"/>
              </a:ext>
            </a:extLst>
          </p:cNvPr>
          <p:cNvSpPr txBox="1">
            <a:spLocks/>
          </p:cNvSpPr>
          <p:nvPr/>
        </p:nvSpPr>
        <p:spPr>
          <a:xfrm>
            <a:off x="609600" y="2335492"/>
            <a:ext cx="10972800" cy="1318883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Visa Dialect Medium" pitchFamily="2" charset="0"/>
                <a:ea typeface="+mj-ea"/>
                <a:cs typeface="+mj-cs"/>
              </a:defRPr>
            </a:lvl1pPr>
          </a:lstStyle>
          <a:p>
            <a:r>
              <a:rPr lang="en-US" sz="8000" spc="-150"/>
              <a:t>Thank you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93703EF-3215-7C4F-9099-263CB544039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13" name="Picture 12" descr="Background pattern, rectangle&#10;&#10;Description automatically generated">
            <a:extLst>
              <a:ext uri="{FF2B5EF4-FFF2-40B4-BE49-F238E27FC236}">
                <a16:creationId xmlns:a16="http://schemas.microsoft.com/office/drawing/2014/main" id="{1158DE16-2738-D94E-92CB-790882C8E9E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72438FC-1EF6-4544-9CC6-2A755FA71C2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9F5E8F3-335C-4384-B1FF-B8461A4CD16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FF082EAE-B6FC-4B36-9523-D2E76077D8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BAD20CDC-AF6E-4D4B-B7CE-63543EEAD8F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271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44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560">
          <p15:clr>
            <a:srgbClr val="FBAE40"/>
          </p15:clr>
        </p15:guide>
      </p15:sldGuideLst>
    </p:ext>
  </p:extLs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Quot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0C35452-CE92-4041-B1AB-4652EFF98AA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22A93CE-8ECC-45F5-AEF3-66B86A05880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4ADE85-FE04-4C1D-A0E3-C416257E524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23F1296-C6EE-48BC-A658-6FFA134CDA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7" name="Rectangle 82">
            <a:extLst>
              <a:ext uri="{FF2B5EF4-FFF2-40B4-BE49-F238E27FC236}">
                <a16:creationId xmlns:a16="http://schemas.microsoft.com/office/drawing/2014/main" id="{6C1945D4-C0C4-4AE0-AC47-E44CF829FD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102998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Quot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DFA0D9A1-9E83-48FE-BA25-BF5B3FC5241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AF825AC-87A8-4DE1-883F-A7D4E837D14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9" name="Picture 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4C178F04-8C13-4DD6-BAE5-DE0ED7BE499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A6CFD8C-17D1-4CF1-8DC5-0B8EBD70374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6" name="Rectangle 82">
            <a:extLst>
              <a:ext uri="{FF2B5EF4-FFF2-40B4-BE49-F238E27FC236}">
                <a16:creationId xmlns:a16="http://schemas.microsoft.com/office/drawing/2014/main" id="{1F225078-D262-47FA-B0A1-8B5542DC00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A7296F1-C131-4225-AF9A-2EE33EEE341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409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 -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8BB0E5B-E71F-4DFB-B0A8-8288771CB65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956CE09-72E4-4F2E-BB26-6A8A49D6757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60ACAD5-BE41-4375-8AF5-FE4014A387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339E6AB4-C07A-4E22-A99C-EF0933C498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099827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F2418A-7624-4476-BD66-7B5517BD4E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A4B46F8-086A-4ACE-A115-0AA48E9F2A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5FD57A-FB59-4B71-97CE-952C59AB6D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9016ED-3505-4B5A-A66B-1D2B4A2B88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  Visa Consulting and Analytics  |  Hudson River CCU   |   Consumer Debit Assessment Final Readout  |  Visa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46666A-DD1E-4144-ABFB-F1DBCE993B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66916A-1A85-4539-B42A-68ACEF8D2C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533589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9499771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575422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0" i="0" baseline="0">
              <a:latin typeface="Segoe UI Light" panose="020B0502040204020203" pitchFamily="34" charset="0"/>
              <a:ea typeface="+mj-ea"/>
              <a:cs typeface="Segoe UI Light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0"/>
            <a:ext cx="11582400" cy="366254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188720"/>
            <a:ext cx="11582400" cy="1396280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375326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595959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lang="en-US" spc="-5"/>
              <a:t>|  Visa Consulting and Analytics  |  Hudson River CCU   |   Consumer Debit Assessment Final Readout  |  Visa Confidential</a:t>
            </a:r>
            <a:endParaRPr spc="-5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ADADAD"/>
                </a:solidFill>
                <a:latin typeface="Calibri"/>
                <a:cs typeface="Calibri"/>
              </a:defRPr>
            </a:lvl1pPr>
          </a:lstStyle>
          <a:p>
            <a:pPr marL="25400">
              <a:lnSpc>
                <a:spcPct val="100000"/>
              </a:lnSpc>
              <a:spcBef>
                <a:spcPts val="65"/>
              </a:spcBef>
            </a:pPr>
            <a:fld id="{81D60167-4931-47E6-BA6A-407CBD079E47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09679472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3" imgH="499" progId="TCLayout.ActiveDocument.1">
                  <p:embed/>
                </p:oleObj>
              </mc:Choice>
              <mc:Fallback>
                <p:oleObj name="think-cell Slide" r:id="rId4" imgW="523" imgH="49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0" i="0" baseline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1256264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57200" y="6309360"/>
            <a:ext cx="10058400" cy="96950"/>
          </a:xfrm>
        </p:spPr>
        <p:txBody>
          <a:bodyPr wrap="square" anchor="t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</p:spTree>
    <p:extLst>
      <p:ext uri="{BB962C8B-B14F-4D97-AF65-F5344CB8AC3E}">
        <p14:creationId xmlns:p14="http://schemas.microsoft.com/office/powerpoint/2010/main" val="1100514032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5321D6-F21A-44C9-934B-FAF62B13FB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7221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3" imgH="499" progId="TCLayout.ActiveDocument.1">
                  <p:embed/>
                </p:oleObj>
              </mc:Choice>
              <mc:Fallback>
                <p:oleObj name="think-cell Slide" r:id="rId4" imgW="523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95321D6-F21A-44C9-934B-FAF62B13FB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5CA95B-F73A-4BC0-91AB-3F8BDF45DB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888" y="6132296"/>
            <a:ext cx="11185127" cy="107722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>
            <a:lvl1pPr>
              <a:defRPr sz="28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156497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4092CC5-4CE4-F14D-84E5-84942B23A7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339236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7756ABC-9266-214C-9F7B-E75E6FFA4963}"/>
              </a:ext>
            </a:extLst>
          </p:cNvPr>
          <p:cNvCxnSpPr>
            <a:cxnSpLocks/>
          </p:cNvCxnSpPr>
          <p:nvPr/>
        </p:nvCxnSpPr>
        <p:spPr>
          <a:xfrm>
            <a:off x="609601" y="2521444"/>
            <a:ext cx="3407308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9A161FA-C7FD-E645-A03F-D02DE0C8B2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19600" y="1567214"/>
            <a:ext cx="33528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9FB75EC-FDA1-D748-BDFC-0A34683F849E}"/>
              </a:ext>
            </a:extLst>
          </p:cNvPr>
          <p:cNvCxnSpPr>
            <a:cxnSpLocks/>
          </p:cNvCxnSpPr>
          <p:nvPr/>
        </p:nvCxnSpPr>
        <p:spPr>
          <a:xfrm>
            <a:off x="4419600" y="2521444"/>
            <a:ext cx="33528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30E2CEF-CCAC-CA4D-933F-027385DC49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78800" y="1567214"/>
            <a:ext cx="34036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6A0D02F-EE42-5B4C-BE0F-181D414229C6}"/>
              </a:ext>
            </a:extLst>
          </p:cNvPr>
          <p:cNvCxnSpPr>
            <a:cxnSpLocks/>
          </p:cNvCxnSpPr>
          <p:nvPr/>
        </p:nvCxnSpPr>
        <p:spPr>
          <a:xfrm>
            <a:off x="8178800" y="2521444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E976D561-61ED-9B4A-B630-6E037061A8DD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12104" y="2628900"/>
            <a:ext cx="33527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BEE0402C-E2BF-DB44-AB66-828DA835BF0F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13310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2B04388-6E13-7143-8DB6-9C4E843A0AB8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8184004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318BDE0-5FD0-8D41-B77E-3DF3B75DE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1D12C16-1BB5-BC4F-B6F8-46FB22666D5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F265D31-1383-4666-ACD9-0A3DA2BDF8D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72F4E22-1B7B-4539-8AE8-6ACCDB6A1344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737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1656">
          <p15:clr>
            <a:srgbClr val="FBAE40"/>
          </p15:clr>
        </p15:guide>
      </p15:sldGuideLst>
    </p:ext>
  </p:extLs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059318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Segoe UI "/>
              <a:ea typeface="+mj-ea"/>
              <a:cs typeface="Segoe UI Light" panose="020B0502040204020203" pitchFamily="34" charset="0"/>
              <a:sym typeface="Segoe UI 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16991" y="245827"/>
            <a:ext cx="11582400" cy="366254"/>
          </a:xfrm>
        </p:spPr>
        <p:txBody>
          <a:bodyPr>
            <a:noAutofit/>
          </a:bodyPr>
          <a:lstStyle>
            <a:lvl1pPr>
              <a:defRPr>
                <a:latin typeface="Segoe UI 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16301" y="1188721"/>
            <a:ext cx="11582400" cy="63786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391564"/>
            <a:ext cx="11684000" cy="10972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304059913"/>
      </p:ext>
    </p:extLst>
  </p:cSld>
  <p:clrMapOvr>
    <a:masterClrMapping/>
  </p:clrMapOvr>
  <p:transition>
    <p:wipe dir="r"/>
  </p:transition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846BCC25-AC44-4BFA-A151-4070B551A0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892" y="1524001"/>
            <a:ext cx="11285049" cy="4572000"/>
          </a:xfrm>
        </p:spPr>
        <p:txBody>
          <a:bodyPr/>
          <a:lstStyle>
            <a:lvl1pPr marL="227008" marR="0" indent="-227008" algn="l" defTabSz="914377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71486" marR="0" indent="-225420" algn="l" defTabSz="914377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200"/>
              </a:spcAft>
              <a:buClr>
                <a:srgbClr val="5C5C5C"/>
              </a:buClr>
              <a:buSzTx/>
              <a:buFont typeface="Calibri" panose="020F0502020204030204" pitchFamily="34" charset="0"/>
              <a:buChar char="─"/>
              <a:tabLst/>
              <a:defRPr/>
            </a:lvl2pPr>
            <a:lvl3pPr marL="685783" marR="0" indent="-171446" algn="l" defTabSz="914377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5C5C5C"/>
              </a:buClr>
              <a:buSzTx/>
              <a:buFont typeface="Arial" panose="020B0604020202020204" pitchFamily="34" charset="0"/>
              <a:buChar char="•"/>
              <a:tabLst/>
              <a:defRPr lang="en-US" sz="1800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0" marR="0" indent="0" algn="l" defTabSz="914377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 lang="en-US" sz="2200" b="1" kern="1200" noProof="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marL="227008" marR="0" lvl="0" indent="-227008" algn="l" defTabSz="914377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F48751A9-3281-492B-9E17-901210722C40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57200" y="6402172"/>
            <a:ext cx="7207251" cy="10772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377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566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754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5943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131" indent="0">
              <a:buNone/>
              <a:defRPr sz="2000" b="0">
                <a:solidFill>
                  <a:schemeClr val="accent3"/>
                </a:solidFill>
              </a:defRPr>
            </a:lvl7pPr>
            <a:lvl8pPr marL="3200320" indent="0">
              <a:buNone/>
              <a:defRPr sz="2000" b="0">
                <a:solidFill>
                  <a:schemeClr val="accent3"/>
                </a:solidFill>
              </a:defRPr>
            </a:lvl8pPr>
            <a:lvl9pPr marL="3657509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8" name="Title 27">
            <a:extLst>
              <a:ext uri="{FF2B5EF4-FFF2-40B4-BE49-F238E27FC236}">
                <a16:creationId xmlns:a16="http://schemas.microsoft.com/office/drawing/2014/main" id="{6C987731-65A9-4ED6-B2B5-77A4DB5D0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592841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846BCC25-AC44-4BFA-A151-4070B551A0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889" y="1524000"/>
            <a:ext cx="11293841" cy="4572000"/>
          </a:xfrm>
        </p:spPr>
        <p:txBody>
          <a:bodyPr wrap="square"/>
          <a:lstStyle>
            <a:lvl1pPr marL="227013" marR="0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71500" marR="0" indent="-225425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200"/>
              </a:spcAft>
              <a:buClr>
                <a:srgbClr val="5C5C5C"/>
              </a:buClr>
              <a:buSzTx/>
              <a:buFont typeface="Calibri" panose="020F0502020204030204" pitchFamily="34" charset="0"/>
              <a:buChar char="─"/>
              <a:tabLst/>
              <a:defRPr/>
            </a:lvl2pPr>
            <a:lvl3pPr marL="801688" marR="0" indent="-17621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5C5C5C"/>
              </a:buClr>
              <a:buSzTx/>
              <a:buFont typeface="Arial" panose="020B0604020202020204" pitchFamily="34" charset="0"/>
              <a:buChar char="•"/>
              <a:tabLst/>
              <a:defRPr lang="en-US" sz="1800" kern="1200" noProof="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lvl4pPr>
          </a:lstStyle>
          <a:p>
            <a:pPr marL="227013" marR="0" lvl="0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dit Master text styles</a:t>
            </a:r>
          </a:p>
          <a:p>
            <a:pPr marL="571500" marR="0" lvl="1" indent="-225425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200"/>
              </a:spcAft>
              <a:buClr>
                <a:srgbClr val="5C5C5C"/>
              </a:buClr>
              <a:buSzTx/>
              <a:buFont typeface="Calibri" panose="020F0502020204030204" pitchFamily="34" charset="0"/>
              <a:buChar char="─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801688" marR="0" lvl="2" indent="-17621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5C5C5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003EA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F7810EDF-A4C7-49A3-A75F-9BF5A43AA89C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69"/>
            <a:ext cx="10669590" cy="38100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000" b="0" dirty="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227013" lvl="0" indent="-227013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4264BDF-3199-4030-97AE-11E54CC5E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ubtitle 1">
            <a:extLst>
              <a:ext uri="{FF2B5EF4-FFF2-40B4-BE49-F238E27FC236}">
                <a16:creationId xmlns:a16="http://schemas.microsoft.com/office/drawing/2014/main" id="{63B34DA0-1F00-4816-88BC-EF46999D46D7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888" y="6132296"/>
            <a:ext cx="11185127" cy="107722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</p:spTree>
    <p:extLst>
      <p:ext uri="{BB962C8B-B14F-4D97-AF65-F5344CB8AC3E}">
        <p14:creationId xmlns:p14="http://schemas.microsoft.com/office/powerpoint/2010/main" val="1189120218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0" i="0" baseline="0">
              <a:latin typeface="Segoe UI Light" panose="020B0502040204020203" pitchFamily="34" charset="0"/>
              <a:ea typeface="+mj-ea"/>
              <a:cs typeface="Segoe UI Light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846BCC25-AC44-4BFA-A151-4070B551A0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1473" y="1585545"/>
            <a:ext cx="11267467" cy="13962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F48751A9-3281-492B-9E17-901210722C40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3" y="6415640"/>
            <a:ext cx="7207251" cy="80791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525" b="0">
                <a:solidFill>
                  <a:schemeClr val="bg2"/>
                </a:solidFill>
              </a:defRPr>
            </a:lvl1pPr>
            <a:lvl2pPr marL="342891" indent="0">
              <a:spcBef>
                <a:spcPts val="0"/>
              </a:spcBef>
              <a:spcAft>
                <a:spcPts val="0"/>
              </a:spcAft>
              <a:buNone/>
              <a:defRPr sz="1500" b="0"/>
            </a:lvl2pPr>
            <a:lvl3pPr marL="685783" indent="0">
              <a:spcBef>
                <a:spcPts val="0"/>
              </a:spcBef>
              <a:spcAft>
                <a:spcPts val="0"/>
              </a:spcAft>
              <a:buNone/>
              <a:defRPr sz="1500" b="0"/>
            </a:lvl3pPr>
            <a:lvl4pPr marL="1028674" indent="0">
              <a:spcBef>
                <a:spcPts val="0"/>
              </a:spcBef>
              <a:spcAft>
                <a:spcPts val="0"/>
              </a:spcAft>
              <a:buNone/>
              <a:defRPr sz="1500" b="0"/>
            </a:lvl4pPr>
            <a:lvl5pPr marL="1371566" indent="0">
              <a:spcBef>
                <a:spcPts val="0"/>
              </a:spcBef>
              <a:buNone/>
              <a:defRPr sz="1500" b="0">
                <a:solidFill>
                  <a:srgbClr val="5D5D5D"/>
                </a:solidFill>
              </a:defRPr>
            </a:lvl5pPr>
            <a:lvl6pPr marL="1714457" indent="0">
              <a:lnSpc>
                <a:spcPct val="90000"/>
              </a:lnSpc>
              <a:buNone/>
              <a:defRPr sz="1500" b="0">
                <a:solidFill>
                  <a:schemeClr val="accent3"/>
                </a:solidFill>
              </a:defRPr>
            </a:lvl6pPr>
            <a:lvl7pPr marL="2057349" indent="0">
              <a:buNone/>
              <a:defRPr sz="1500" b="0">
                <a:solidFill>
                  <a:schemeClr val="accent3"/>
                </a:solidFill>
              </a:defRPr>
            </a:lvl7pPr>
            <a:lvl8pPr marL="2400240" indent="0">
              <a:buNone/>
              <a:defRPr sz="1500" b="0">
                <a:solidFill>
                  <a:schemeClr val="accent3"/>
                </a:solidFill>
              </a:defRPr>
            </a:lvl8pPr>
            <a:lvl9pPr marL="2743131" indent="0">
              <a:buNone/>
              <a:defRPr sz="15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8" name="Title 27">
            <a:extLst>
              <a:ext uri="{FF2B5EF4-FFF2-40B4-BE49-F238E27FC236}">
                <a16:creationId xmlns:a16="http://schemas.microsoft.com/office/drawing/2014/main" id="{6C987731-65A9-4ED6-B2B5-77A4DB5D0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4494629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800" y="2267713"/>
            <a:ext cx="11582400" cy="137787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1609345"/>
            <a:ext cx="11582400" cy="258597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4086601166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0541019"/>
              </p:ext>
            </p:extLst>
          </p:nvPr>
        </p:nvGraphicFramePr>
        <p:xfrm>
          <a:off x="1767" y="1323"/>
          <a:ext cx="1764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7" y="1323"/>
                        <a:ext cx="1764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" y="6356356"/>
            <a:ext cx="377952" cy="365125"/>
          </a:xfrm>
        </p:spPr>
        <p:txBody>
          <a:bodyPr/>
          <a:lstStyle/>
          <a:p>
            <a:fld id="{C19C67A3-BED2-284C-B277-97C0CD92F61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B675D9A-CF44-47CB-ADE8-3F99BDF2F1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6" y="6198567"/>
            <a:ext cx="11704639" cy="110800"/>
          </a:xfrm>
        </p:spPr>
        <p:txBody>
          <a:bodyPr anchor="b">
            <a:noAutofit/>
          </a:bodyPr>
          <a:lstStyle>
            <a:lvl1pPr marL="0" indent="0">
              <a:buNone/>
              <a:defRPr sz="800">
                <a:solidFill>
                  <a:schemeClr val="bg2">
                    <a:lumMod val="75000"/>
                  </a:schemeClr>
                </a:solidFill>
              </a:defRPr>
            </a:lvl1pPr>
            <a:lvl2pPr marL="376718" indent="0">
              <a:buNone/>
              <a:defRPr sz="800"/>
            </a:lvl2pPr>
            <a:lvl3pPr marL="838091" indent="0">
              <a:buNone/>
              <a:defRPr sz="800"/>
            </a:lvl3pPr>
            <a:lvl4pPr marL="1219042" indent="0">
              <a:buNone/>
              <a:defRPr sz="800"/>
            </a:lvl4pPr>
            <a:lvl5pPr marL="1559187" indent="0">
              <a:buNone/>
              <a:defRPr sz="800"/>
            </a:lvl5pPr>
          </a:lstStyle>
          <a:p>
            <a:pPr lvl="0"/>
            <a:r>
              <a:rPr lang="en-US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839516811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reak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2631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FAD6A328-4E88-4B77-AE73-4F9B33FC0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2676166"/>
            <a:ext cx="7151010" cy="762000"/>
          </a:xfrm>
        </p:spPr>
        <p:txBody>
          <a:bodyPr/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5A28D5-058F-403D-9072-70B5135543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70" r="33036" b="61972"/>
          <a:stretch/>
        </p:blipFill>
        <p:spPr>
          <a:xfrm>
            <a:off x="304800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49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5B616A-908C-4B8E-B567-9EE6EBF80B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966899057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0"/>
            <a:ext cx="11582400" cy="3662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188720"/>
            <a:ext cx="11582400" cy="1947200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304800" y="685801"/>
            <a:ext cx="11582400" cy="276999"/>
          </a:xfrm>
        </p:spPr>
        <p:txBody>
          <a:bodyPr/>
          <a:lstStyle>
            <a:lvl1pPr marL="0" indent="0" algn="l">
              <a:buNone/>
              <a:defRPr sz="2000" b="1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1873827639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4D7031-015E-4F9B-9F48-B87B4A60BE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508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3" imgH="499" progId="TCLayout.ActiveDocument.1">
                  <p:embed/>
                </p:oleObj>
              </mc:Choice>
              <mc:Fallback>
                <p:oleObj name="think-cell Slide" r:id="rId4" imgW="523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4D7031-015E-4F9B-9F48-B87B4A60BE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E7D68AE-D19E-4AB0-BDFB-26B24C3A698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0B54B57D-4A13-4469-9179-52A8E144AA4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68"/>
            <a:ext cx="10669590" cy="38100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000" b="0" dirty="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227013" lvl="0" indent="-227013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888" y="6132296"/>
            <a:ext cx="11185127" cy="107722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>
            <a:lvl1pPr>
              <a:defRPr sz="28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65228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13DA727-D0B5-5748-84C2-5C350C1088DF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1600200"/>
            <a:ext cx="2489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EA5DA42-0A63-7149-B091-08D10F848F2E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1600200"/>
            <a:ext cx="2432423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ACB33F5F-6A95-C141-A4CB-F1354D41AD3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8CF80BC6-09DE-3740-8861-1869483A0ECD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41518C0-F58C-DA41-8B70-42DC6B9B5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93602B9-7F9B-AE4E-9BAF-34FC72E3CBF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1BBF8E8-B113-4097-B3D5-600667DA2D2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5F24CAE-D619-462F-B79C-4C9F404F0107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3360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head and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 1">
            <a:extLst>
              <a:ext uri="{FF2B5EF4-FFF2-40B4-BE49-F238E27FC236}">
                <a16:creationId xmlns:a16="http://schemas.microsoft.com/office/drawing/2014/main" id="{28B88886-1612-4DE1-AB7E-F47B7AEA2A22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70"/>
            <a:ext cx="10669590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3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Subtitle 1">
            <a:extLst>
              <a:ext uri="{FF2B5EF4-FFF2-40B4-BE49-F238E27FC236}">
                <a16:creationId xmlns:a16="http://schemas.microsoft.com/office/drawing/2014/main" id="{BE7923E5-BFFA-4831-867D-4B7AFBFF212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34431" y="6407557"/>
            <a:ext cx="7574729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F7D0FB-DDF1-46D5-918C-7A5C6A636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A4EFA72-5BDB-43AA-8AD4-4423CDDA0820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4A716E9D-82B0-4CD1-B5AA-3AD928C8B567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5B54DBE-C2A8-4028-AF57-47A7C5DE5A02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4044495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Illustration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B980B98-A2F2-104F-B1F3-4969CC3C5A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54240" y="2776810"/>
            <a:ext cx="4431429" cy="329931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ABED557-8CCF-4E06-A4B0-138D63BEA5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B2E44F33-678A-47EA-AC07-88FFA81297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901205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2B imagery -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Picture 10" descr="Background pattern, rectangle&#10;&#10;Description automatically generated">
            <a:extLst>
              <a:ext uri="{FF2B5EF4-FFF2-40B4-BE49-F238E27FC236}">
                <a16:creationId xmlns:a16="http://schemas.microsoft.com/office/drawing/2014/main" id="{531B1FD9-0074-469F-8AE7-E606DAD866B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6929856F-DABF-471F-8B38-2526EC3ED5B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C1AA3B56-2388-49CA-AD18-833EC83542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666484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­ - B2B imagery -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Picture 10" descr="Background pattern, rectangle&#10;&#10;Description automatically generated">
            <a:extLst>
              <a:ext uri="{FF2B5EF4-FFF2-40B4-BE49-F238E27FC236}">
                <a16:creationId xmlns:a16="http://schemas.microsoft.com/office/drawing/2014/main" id="{7FD18B49-0479-4CF3-89E4-5BDC364D67A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4CB7C099-CC69-4D83-991F-6E38857EB54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FE6DB80F-96E5-44B2-B38D-57C87BFDD9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39113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 - with Ic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076C857-6C05-8E4F-89DE-4C6A9CEA50B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B4CD84E1-A716-784A-BEDC-3F776D13EC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5F9A24A-091B-1847-A8CD-FA05E6DF03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8FA1B8AC-487C-49C6-B84A-CD69B74EDE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208008" y="3835908"/>
            <a:ext cx="2374392" cy="237439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D319C69-C7DB-B842-A288-4B78C966A26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94403A-163E-2F49-B354-92394604048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DC265AB-EBB4-4A26-83CD-9770E18E9B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7" name="Rectangle 82">
            <a:extLst>
              <a:ext uri="{FF2B5EF4-FFF2-40B4-BE49-F238E27FC236}">
                <a16:creationId xmlns:a16="http://schemas.microsoft.com/office/drawing/2014/main" id="{677ADEC4-2706-4062-A5A4-0408C76D9C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185670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FAEF6FF-624F-F941-8333-F016E751BE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E27E99B-5241-0942-B27C-8DC37A0E3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8F6A2D3-237C-B142-BB6C-D1D674B692C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E83F0A4-A2E0-234F-9735-E801C5099329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5DD0A7-9B3F-B445-B3E3-DCBA18FD692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E74BCA9-4EC7-4DCA-BB36-2BA3463C36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B0957394-30D0-4716-A027-B93A302A27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655518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 - VBM+Symb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653EF4D2-FA1F-824F-9159-013422D09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accent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D0E9125-603C-FE4B-9FE5-B2CDA2CFBD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75FF374-CE84-874F-AD2F-DEC1ADE14B1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0F52965-CEEE-2C41-AD99-92F2BDAE802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E4A174-513B-AF43-8972-1BF7BACDE2E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2">
            <a:extLst>
              <a:ext uri="{FF2B5EF4-FFF2-40B4-BE49-F238E27FC236}">
                <a16:creationId xmlns:a16="http://schemas.microsoft.com/office/drawing/2014/main" id="{D569423D-2F88-426D-B662-3E29CF5B8F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7E2C032-B12D-4BA9-A8E5-489BAD92E1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263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B023C5D-F5CC-44FA-834F-43851B9A10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43EE40-5826-477B-BEEF-B50E81BADC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3463FD-6F8E-41D2-B867-102704C5E9FC}"/>
              </a:ext>
            </a:extLst>
          </p:cNvPr>
          <p:cNvCxnSpPr>
            <a:cxnSpLocks/>
          </p:cNvCxnSpPr>
          <p:nvPr/>
        </p:nvCxnSpPr>
        <p:spPr>
          <a:xfrm>
            <a:off x="6096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843B257-7F12-4633-9525-3B6D2C5C29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884D96D-3DE4-40B0-90D8-B5918CF1D0E8}"/>
              </a:ext>
            </a:extLst>
          </p:cNvPr>
          <p:cNvCxnSpPr>
            <a:cxnSpLocks/>
          </p:cNvCxnSpPr>
          <p:nvPr/>
        </p:nvCxnSpPr>
        <p:spPr>
          <a:xfrm>
            <a:off x="3454400" y="2521444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5176D7D-6355-4FF3-9137-FC5B3D8B65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5426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7B4ED28-009B-4D27-8603-E737D3353D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2F40EFA-7CFE-412F-9670-84A0FD0AAAD2}"/>
              </a:ext>
            </a:extLst>
          </p:cNvPr>
          <p:cNvCxnSpPr>
            <a:cxnSpLocks/>
          </p:cNvCxnSpPr>
          <p:nvPr/>
        </p:nvCxnSpPr>
        <p:spPr>
          <a:xfrm>
            <a:off x="90932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0EAEBC3-D403-4863-B94C-5BA28D11A2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0BF9787-757D-4D4A-9D39-36E4F20150F8}"/>
              </a:ext>
            </a:extLst>
          </p:cNvPr>
          <p:cNvCxnSpPr>
            <a:cxnSpLocks/>
          </p:cNvCxnSpPr>
          <p:nvPr/>
        </p:nvCxnSpPr>
        <p:spPr>
          <a:xfrm>
            <a:off x="6096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39AED03-861E-49F5-9486-9875D7F325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54400" y="3962591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6A4D639-35EE-4A75-9D5D-F5D68D810241}"/>
              </a:ext>
            </a:extLst>
          </p:cNvPr>
          <p:cNvCxnSpPr>
            <a:cxnSpLocks/>
          </p:cNvCxnSpPr>
          <p:nvPr/>
        </p:nvCxnSpPr>
        <p:spPr>
          <a:xfrm>
            <a:off x="3454400" y="4916821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191B399-15E8-4E18-95CE-9D88E07F66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5423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9BE4E74-7BEC-498B-AB83-0C7C20ED890A}"/>
              </a:ext>
            </a:extLst>
          </p:cNvPr>
          <p:cNvCxnSpPr>
            <a:cxnSpLocks/>
          </p:cNvCxnSpPr>
          <p:nvPr/>
        </p:nvCxnSpPr>
        <p:spPr>
          <a:xfrm>
            <a:off x="6295423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92CC6EC-3B35-4B15-8ECF-71827B4F797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932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A28FED9-B6B8-4348-BFC2-E292A6FB0FCF}"/>
              </a:ext>
            </a:extLst>
          </p:cNvPr>
          <p:cNvCxnSpPr>
            <a:cxnSpLocks/>
          </p:cNvCxnSpPr>
          <p:nvPr/>
        </p:nvCxnSpPr>
        <p:spPr>
          <a:xfrm>
            <a:off x="90932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Content Placeholder 2">
            <a:extLst>
              <a:ext uri="{FF2B5EF4-FFF2-40B4-BE49-F238E27FC236}">
                <a16:creationId xmlns:a16="http://schemas.microsoft.com/office/drawing/2014/main" id="{11899807-858E-4003-8BDF-4015E542845B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609600" y="2643202"/>
            <a:ext cx="247828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6" name="Content Placeholder 2">
            <a:extLst>
              <a:ext uri="{FF2B5EF4-FFF2-40B4-BE49-F238E27FC236}">
                <a16:creationId xmlns:a16="http://schemas.microsoft.com/office/drawing/2014/main" id="{8713D4C8-925C-4E15-9DF9-AB425817C32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454400" y="2643208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7" name="Content Placeholder 2">
            <a:extLst>
              <a:ext uri="{FF2B5EF4-FFF2-40B4-BE49-F238E27FC236}">
                <a16:creationId xmlns:a16="http://schemas.microsoft.com/office/drawing/2014/main" id="{7EDB3C1E-C224-4411-B608-25ABA2658B70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6295426" y="2643202"/>
            <a:ext cx="2489197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8" name="Content Placeholder 2">
            <a:extLst>
              <a:ext uri="{FF2B5EF4-FFF2-40B4-BE49-F238E27FC236}">
                <a16:creationId xmlns:a16="http://schemas.microsoft.com/office/drawing/2014/main" id="{601DD3FF-8D08-49F7-97A5-81CD5390891E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9093200" y="2643202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9" name="Content Placeholder 2">
            <a:extLst>
              <a:ext uri="{FF2B5EF4-FFF2-40B4-BE49-F238E27FC236}">
                <a16:creationId xmlns:a16="http://schemas.microsoft.com/office/drawing/2014/main" id="{E6F0E1CC-E3A5-476C-B9BD-8E55B73C912E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09600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Content Placeholder 2">
            <a:extLst>
              <a:ext uri="{FF2B5EF4-FFF2-40B4-BE49-F238E27FC236}">
                <a16:creationId xmlns:a16="http://schemas.microsoft.com/office/drawing/2014/main" id="{6CA859C0-8CC8-4AD9-A9BC-64F1FC91D711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454400" y="5024160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1" name="Content Placeholder 2">
            <a:extLst>
              <a:ext uri="{FF2B5EF4-FFF2-40B4-BE49-F238E27FC236}">
                <a16:creationId xmlns:a16="http://schemas.microsoft.com/office/drawing/2014/main" id="{BBD7B664-2D47-45FC-8170-499D24E52CD3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6295423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2" name="Content Placeholder 2">
            <a:extLst>
              <a:ext uri="{FF2B5EF4-FFF2-40B4-BE49-F238E27FC236}">
                <a16:creationId xmlns:a16="http://schemas.microsoft.com/office/drawing/2014/main" id="{7C76208B-5543-46CF-A9E2-FACFA2214379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9089423" y="5007399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1B229B7-1E51-4DB5-8A87-EA006CA75597}"/>
              </a:ext>
            </a:extLst>
          </p:cNvPr>
          <p:cNvCxnSpPr>
            <a:cxnSpLocks/>
          </p:cNvCxnSpPr>
          <p:nvPr/>
        </p:nvCxnSpPr>
        <p:spPr>
          <a:xfrm>
            <a:off x="6295426" y="2521444"/>
            <a:ext cx="248919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 descr="Logo&#10;&#10;Description automatically generated">
            <a:extLst>
              <a:ext uri="{FF2B5EF4-FFF2-40B4-BE49-F238E27FC236}">
                <a16:creationId xmlns:a16="http://schemas.microsoft.com/office/drawing/2014/main" id="{BEC567DB-456B-4C04-85C5-43BB8355521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D076AD15-8A80-4D5C-99D2-930048D9981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CA210-CD82-4973-86C5-C81EDE5EA83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3" name="Rectangle 82">
            <a:extLst>
              <a:ext uri="{FF2B5EF4-FFF2-40B4-BE49-F238E27FC236}">
                <a16:creationId xmlns:a16="http://schemas.microsoft.com/office/drawing/2014/main" id="{6B9A56F8-EB09-4F40-91B6-8D1D2F5530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1A738C1A-312C-4A5E-B567-CBA919874D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188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84">
          <p15:clr>
            <a:srgbClr val="FBAE40"/>
          </p15:clr>
        </p15:guide>
        <p15:guide id="16" pos="3744">
          <p15:clr>
            <a:srgbClr val="FBAE40"/>
          </p15:clr>
        </p15:guide>
        <p15:guide id="17" pos="3960">
          <p15:clr>
            <a:srgbClr val="FBAE40"/>
          </p15:clr>
        </p15:guide>
        <p15:guide id="18" pos="5520">
          <p15:clr>
            <a:srgbClr val="FBAE40"/>
          </p15:clr>
        </p15:guide>
        <p15:guide id="19" pos="573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6B01A99-F0E4-4F6A-9814-CECDD9DC96F6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38B7B0-D097-7C40-B18F-DF9854A1FD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1600200"/>
            <a:ext cx="8155179" cy="3714750"/>
          </a:xfr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Visa Dialect Regular 18pt</a:t>
            </a:r>
          </a:p>
          <a:p>
            <a:pPr lvl="0"/>
            <a:r>
              <a:rPr lang="en-US"/>
              <a:t>Items are automatically numbered</a:t>
            </a:r>
          </a:p>
          <a:p>
            <a:pPr lvl="0"/>
            <a:r>
              <a:rPr lang="en-US"/>
              <a:t>If needed, use the Numbering button on the Home tab to turn off numbers.</a:t>
            </a:r>
          </a:p>
          <a:p>
            <a:pPr lvl="0"/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51B0AD-0CB2-A048-A80E-79B8AB9DC5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AF40C379-F42C-48E2-9BF6-F41A857ED5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902A4BD-9D83-44B2-ACE3-88F0098F377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D9AF42-CC7A-4B9F-B211-4FF9B1A9EA7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5" name="Rectangle 82">
            <a:extLst>
              <a:ext uri="{FF2B5EF4-FFF2-40B4-BE49-F238E27FC236}">
                <a16:creationId xmlns:a16="http://schemas.microsoft.com/office/drawing/2014/main" id="{F4323786-EA2E-40B7-B647-9949EA1B9B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CCA81A6E-0CF0-4338-B8B5-E72C667E63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583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pos="5520">
          <p15:clr>
            <a:srgbClr val="FBAE40"/>
          </p15:clr>
        </p15:guide>
        <p15:guide id="22" pos="5736">
          <p15:clr>
            <a:srgbClr val="FBAE40"/>
          </p15:clr>
        </p15:guide>
      </p15:sldGuideLst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B796B2-E9E7-4A1D-AD60-1EB8C21CF2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B3BD4A8-0E52-4FFD-81E5-4667BBF1EFC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B95E950-296F-E542-B8F2-E86E8C26F9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341839-DFD3-DC46-B0B1-748514F6A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1E25E2-478B-4A61-B489-BCCB76E32FA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D9929F-8F44-4512-A3C5-4A94AA39173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587FB0F-0E7B-49AB-95F9-0BE1492C27B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A225AB9E-6270-411B-BA41-FE4DC155E9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84038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70B93C1-A913-6949-9E7A-C612BA63F6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66616FA-1027-5A4A-AC2C-E2DC86D90196}"/>
              </a:ext>
            </a:extLst>
          </p:cNvPr>
          <p:cNvCxnSpPr>
            <a:cxnSpLocks/>
          </p:cNvCxnSpPr>
          <p:nvPr/>
        </p:nvCxnSpPr>
        <p:spPr>
          <a:xfrm>
            <a:off x="6096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5070E2-249F-2E41-8903-2C611249DB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EB18407-6858-9A4B-92C4-92013BAEACC6}"/>
              </a:ext>
            </a:extLst>
          </p:cNvPr>
          <p:cNvCxnSpPr>
            <a:cxnSpLocks/>
          </p:cNvCxnSpPr>
          <p:nvPr/>
        </p:nvCxnSpPr>
        <p:spPr>
          <a:xfrm>
            <a:off x="3454400" y="2521444"/>
            <a:ext cx="24384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A618BCB-5657-E640-B496-300C09D2BD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3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2571815-7AC9-4A48-8176-16337A1C25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8CA6EDF-309F-9C43-88A2-C720D2079C09}"/>
              </a:ext>
            </a:extLst>
          </p:cNvPr>
          <p:cNvCxnSpPr>
            <a:cxnSpLocks/>
          </p:cNvCxnSpPr>
          <p:nvPr/>
        </p:nvCxnSpPr>
        <p:spPr>
          <a:xfrm>
            <a:off x="90932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F0A98B5-2885-FC4B-8E93-11E6853D6063}"/>
              </a:ext>
            </a:extLst>
          </p:cNvPr>
          <p:cNvCxnSpPr>
            <a:cxnSpLocks/>
          </p:cNvCxnSpPr>
          <p:nvPr/>
        </p:nvCxnSpPr>
        <p:spPr>
          <a:xfrm>
            <a:off x="6248403" y="2521444"/>
            <a:ext cx="2489197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1631775-8D64-4341-A917-ACCA02A442D2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2628900"/>
            <a:ext cx="2489200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4E99E6E9-2494-B940-B1EF-092C3EADC772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2628900"/>
            <a:ext cx="2432423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819DCF24-1964-3644-9168-FF49E2A566D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CF5FC023-DCB7-9848-9776-BCD9A603067E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8EC50DE8-D067-984E-9012-11FC27E62E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7D501EE-A03D-D64F-A115-5ECD03AA3F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B5F5CD2-1C9A-43C0-8ABE-C50E297345B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8C44455-956A-4EFA-A987-9EF682509EAA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649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8A5BA51-F084-46F7-93C2-7B53463A69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8FFAC3C-0074-FE4C-A801-A8774F5415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EA814F0-7225-EE49-AEEB-8D88CDE9E2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8E4219-BF8A-EF4A-A133-8697CB3D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9DDFC30-4C35-4FFE-B78F-CC6778ACBCB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8ED936E-64AB-439B-98BB-2235A783FB7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A2422CE-195E-4DA5-9984-0FE3619373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710D1EF4-44F9-49FB-BA15-FDE8DBFE38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23950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19E6CA2-344D-4DE3-AED7-2763D00E6F2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5B45E48-5A8A-7C43-968E-E1237A2CF6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E458D01-2E76-4D49-95E3-8329F9C32E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821AC90-4858-944A-AAA3-8FB5B5B21A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1F327F-1FC5-4766-BD46-CC371BD2A4C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564589-4D8E-4B07-B6EF-C13FC69FF19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5E9EB26-B07A-4858-8583-AA49119DFAF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D9CB0298-1E33-4FE2-B7BD-6E00FE1A26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724126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0CB6150-C0E7-4A2D-82C2-2A7C8BF43AD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CB1B974-08D3-AB49-86CE-CCE82104A9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DFFAE56-C962-6C4A-AD68-F109E1F4C0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67E79CE-AD17-A442-A7EE-EEA5858FBA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D4241A-A15C-479B-B2A0-F40EAD45853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0CD241-C7A6-4F00-9726-06138E6089B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91C7B16-958E-4EBE-AC41-B49A60AA54D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2479FC45-EBBC-4782-87D2-86608560F9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704313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7BAF715-EBE8-446C-91FD-813ACDD79FA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77865E-7ADA-7C48-AC7C-7BD23AFA87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B5A86F8-9249-2941-BCE8-3144DCB36D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B89671E-C5A3-AC49-961F-0681EA7A7A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00655D-D26A-4756-9390-58205F822B2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771495-DD2C-4133-A19E-D2FC4E0161A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65242E3-D0EC-4498-BC2E-BA974FBDAA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7E607763-3821-420C-ACA3-5EC3B11F88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895090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10B0A4C-A4E3-4EFF-811D-C8F7F71DDAD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3B9DD37-5DFE-4A41-8FA8-34800D0AD8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CC9C687-5164-DD4B-905F-8D9278B64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1DCF08D-7562-D34D-A3B4-44FC665F46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89084A-677C-4667-80CD-ACE9A503F27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18D356-C67E-4C15-9A94-5289D723453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28CE00D-241A-4667-ADFB-106FE417DD3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C0EA51A1-56A3-4324-9B20-1DC16E9534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4438061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882F6FB-6C88-4EEE-9198-A9B87177A1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5156B22-A2E9-B341-8510-C9C5982CFD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0F1350D-FD1E-384F-BE94-2292ED259F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64FC454-9417-9341-BB90-0BEC752290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6F9526-02BF-4F7A-B3A0-57215B91A51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D776A7-A108-4986-8E36-1A1B07036F5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E30A2C6-3416-414C-A125-983540B4A5B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E1592E0D-D96C-4EEC-864F-766BBA8B51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525028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FC571ED-58FB-4FE8-A7F4-3671854D65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34E0250-7EA6-A14E-85A2-70CC7AF598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FB486BD-B31D-2746-A2D9-D74A5612C6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9B97EB1-495E-7643-8ACA-13F7587376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DDD1-E673-413B-ABF2-1F205D7C233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405CC88-5C99-4116-8382-D1031391C5A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BD336C-4C14-4603-9D44-C23F03FB9AB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5EF51455-186B-4653-A265-9D454538EF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74486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Text onl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6B6122-7868-471E-9927-60AD1625462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EF2D28D-835D-674E-9C16-1E2C9608E6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63B2BCD-5F69-8D43-8F89-629C13FC6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ECA1875B-428C-074B-81DA-1C09468F0A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4CF6F7F-687B-4B57-8E8F-5B349EA3B32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5263A8-6FCF-4763-8B81-709E07B3599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28DEC49-3A24-4F15-BA2F-3FF11C8816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4E66CCDB-3D15-42FC-8F6F-2697B9D6A0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503648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&amp;A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0C7A211-453E-4D0B-AEB3-1E2206B264F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A96E994-B347-4526-B8DE-2F0DEE90471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9A7E0F-7DCB-4BBC-8865-65F8E448C5E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5C50D10-4CF2-456D-9012-B0BDC5857F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9" name="Rectangle 82">
            <a:extLst>
              <a:ext uri="{FF2B5EF4-FFF2-40B4-BE49-F238E27FC236}">
                <a16:creationId xmlns:a16="http://schemas.microsoft.com/office/drawing/2014/main" id="{E7DDB7CD-21A1-4A4A-9949-0FFCAC055B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4244773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&amp;A - Whit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ED1F4B8-24E0-4ED5-9093-8C027FEFB19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65FE600-6E90-41CA-925C-7248AED93E6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115DBC-2B4F-4AA2-867E-80D7D554C07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6" name="Rectangle 82">
            <a:extLst>
              <a:ext uri="{FF2B5EF4-FFF2-40B4-BE49-F238E27FC236}">
                <a16:creationId xmlns:a16="http://schemas.microsoft.com/office/drawing/2014/main" id="{CDDE597F-BAEB-47E8-867F-ACD8DECD92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4C021FF-E312-4A2C-A51C-EF33A327608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989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0659210-753C-4957-8F25-A4D709FAB681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28DF06C-CFDC-2447-B7D4-E75EC0431F79}"/>
              </a:ext>
            </a:extLst>
          </p:cNvPr>
          <p:cNvCxnSpPr>
            <a:cxnSpLocks/>
          </p:cNvCxnSpPr>
          <p:nvPr/>
        </p:nvCxnSpPr>
        <p:spPr>
          <a:xfrm>
            <a:off x="60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F1E348A8-D8AD-8342-95C4-1E731B229D5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636295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BE5757E-813A-8F48-9A5A-EEC1071594D2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45273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7" name="Picture Placeholder 2">
            <a:extLst>
              <a:ext uri="{FF2B5EF4-FFF2-40B4-BE49-F238E27FC236}">
                <a16:creationId xmlns:a16="http://schemas.microsoft.com/office/drawing/2014/main" id="{95C65A02-D19F-294F-BC73-89CD66DB23DC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269171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0C183E4-86E4-6940-9A6D-E9DE7740EFA7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13310" y="3379809"/>
            <a:ext cx="340359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3ECD2BF-4248-F14F-AB63-732DFF2D5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8DA343F-1525-584F-88BA-86B0FE83B43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EE7EA97-253E-FB40-B94E-BE9389B08B5F}"/>
              </a:ext>
            </a:extLst>
          </p:cNvPr>
          <p:cNvCxnSpPr>
            <a:cxnSpLocks/>
          </p:cNvCxnSpPr>
          <p:nvPr/>
        </p:nvCxnSpPr>
        <p:spPr>
          <a:xfrm>
            <a:off x="441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BE90A3C5-FAC6-4A4A-B289-095811B7B144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423311" y="3379809"/>
            <a:ext cx="3349090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A926BB4-EEF2-5A49-844D-B93A3BB53E82}"/>
              </a:ext>
            </a:extLst>
          </p:cNvPr>
          <p:cNvCxnSpPr>
            <a:cxnSpLocks/>
          </p:cNvCxnSpPr>
          <p:nvPr/>
        </p:nvCxnSpPr>
        <p:spPr>
          <a:xfrm>
            <a:off x="81915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B46288C4-4A89-B443-8199-6DBD23F67C2B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8195210" y="3379809"/>
            <a:ext cx="339988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D2253DE5-5F38-4CC4-840B-B9B7BA274D9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0E30E62-33C1-413C-872D-E8D9F0B479CF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853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2040">
          <p15:clr>
            <a:srgbClr val="FBAE40"/>
          </p15:clr>
        </p15:guide>
      </p15:sldGuideLst>
    </p:ext>
  </p:extLs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701F9548-162A-4715-BBDE-BD262EE673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5B0F3AB-1D3B-49D8-9299-CC0116B50C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564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45919AD-36C2-4214-89C4-F6CAFE1A95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073FB1A2-EA14-4F6C-86F9-FD497A3034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0AEBB67-1858-8045-8897-E60ACC3C616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4826C0C-2EDB-488A-8715-85AF64027CCD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785AC-4A3E-4F1C-B384-9A61E41DFD2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0" name="Rectangle 82">
            <a:extLst>
              <a:ext uri="{FF2B5EF4-FFF2-40B4-BE49-F238E27FC236}">
                <a16:creationId xmlns:a16="http://schemas.microsoft.com/office/drawing/2014/main" id="{9F5F2119-7601-40C9-87DF-B2193F30F8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FB63FD8-0758-4631-A48E-FC82B0F293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480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  <p15:guide id="5" pos="5736">
          <p15:clr>
            <a:srgbClr val="FBAE40"/>
          </p15:clr>
        </p15:guide>
      </p15:sldGuideLst>
    </p:ext>
  </p:extLs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58AFA770-D7F0-4D2B-A47E-E283C9FBB1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0751AB5-BCE2-3A48-AB2B-81D2957752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4009E6-8C8C-4F63-8386-915350D1F6B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3475BE-34FA-478E-A50B-B89C4195AD5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03A7B655-B37E-46E5-802C-742A2A25DE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6C247F9-3C5B-40D1-B172-8C1001C665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3791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 -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58AFA770-D7F0-4D2B-A47E-E283C9FBB1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01841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0751AB5-BCE2-3A48-AB2B-81D2957752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4009E6-8C8C-4F63-8386-915350D1F6B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3475BE-34FA-478E-A50B-B89C4195AD5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BBFFB18F-502B-4620-8EBB-ADDCDAFFE0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F3D92FE-9EF1-45FA-83AE-7DEE9BCD7F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39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</p15:sldGuideLst>
    </p:ext>
  </p:extLs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mber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58AFA770-D7F0-4D2B-A47E-E283C9FBB1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9CE45557-2782-1C4D-9649-89829803926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599" y="1600200"/>
            <a:ext cx="8153401" cy="4610100"/>
          </a:xfrm>
        </p:spPr>
        <p:txBody>
          <a:bodyPr>
            <a:noAutofit/>
          </a:bodyPr>
          <a:lstStyle>
            <a:lvl1pPr marL="230188" indent="-230188">
              <a:lnSpc>
                <a:spcPct val="100000"/>
              </a:lnSpc>
              <a:spcBef>
                <a:spcPts val="1200"/>
              </a:spcBef>
              <a:spcAft>
                <a:spcPts val="800"/>
              </a:spcAft>
              <a:buFont typeface="+mj-lt"/>
              <a:buAutoNum type="arabicPeriod"/>
              <a:tabLst/>
              <a:defRPr sz="1600">
                <a:solidFill>
                  <a:schemeClr val="accent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/>
            </a:lvl2pPr>
            <a:lvl3pPr marL="4572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3pPr>
            <a:lvl4pPr marL="6858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edit numbering text styles</a:t>
            </a:r>
          </a:p>
          <a:p>
            <a:pPr lvl="2"/>
            <a:r>
              <a:rPr lang="en-US"/>
              <a:t>Second bullet level</a:t>
            </a:r>
          </a:p>
          <a:p>
            <a:pPr lvl="3"/>
            <a:r>
              <a:rPr lang="en-US"/>
              <a:t>Third bullet 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9B99707-631C-504C-957F-75DF92D4259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C748D62-F2B5-2B4A-9E6A-987900DA44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809BF2C-89DA-40FC-BDB4-F9F2327BD1B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B1CCE4-8767-470D-8DDB-B0AB133458C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C09B0FA0-282F-40CC-85DC-E4A28FCCAF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35C6D7B-9A5E-4D8D-80FF-834DC52D3D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472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-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98EDF07-72EA-CE41-A35E-2CE9B7FCED0C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5636F92-56A3-4048-9234-A4D4D6B1402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09600" y="1600200"/>
            <a:ext cx="10972800" cy="4610100"/>
          </a:xfrm>
        </p:spPr>
        <p:txBody>
          <a:bodyPr>
            <a:noAutofit/>
          </a:bodyPr>
          <a:lstStyle>
            <a:lvl1pPr marL="514350" marR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3200" b="0" i="0">
                <a:solidFill>
                  <a:schemeClr val="tx1"/>
                </a:solidFill>
                <a:latin typeface="Visa Dialect Medium" pitchFamily="2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05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05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5pPr>
            <a:lvl6pPr marL="685800" indent="-176213">
              <a:tabLst/>
              <a:defRPr sz="1050"/>
            </a:lvl6pPr>
          </a:lstStyle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  <a:p>
            <a:pPr marL="5143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Second level</a:t>
            </a:r>
          </a:p>
          <a:p>
            <a:pPr marL="514350" marR="0" lvl="2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Third level</a:t>
            </a:r>
          </a:p>
          <a:p>
            <a:pPr marL="514350" marR="0" lvl="3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ourth level</a:t>
            </a:r>
          </a:p>
          <a:p>
            <a:pPr marL="514350" marR="0" lvl="4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ifth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764807F4-3A5E-4790-8BFF-9F75F97358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A80DBE0-EA23-914C-BE1F-E2E9FA549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71262D7-4155-664A-A7EF-0F6CD92AC9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62BCEA-A68A-4769-B6ED-EF217FA5B7A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538CD4-8CE7-4DB6-9772-1D3E7895B31A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65FE215-5FF4-864B-8264-06F499FAE80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75D86DC9-F6BA-4387-8C60-CB216A9D65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CE84D87-A172-4A29-9AA7-2E671B4521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091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FAAB2DA0-5560-4CFB-8BB1-FA929156A0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6863A02-5AA9-0045-86B9-CB65111A28F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5B523E-6B9A-3E4C-A8C8-39C38CC0B143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250640" y="1600200"/>
            <a:ext cx="5331759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348177B1-77DF-0E4E-A6DB-F730917346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CA431A8-80BE-3346-AEA4-3FE5EF0F87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D624208-192E-BD42-8C2C-D3FC7AB00F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C0911FF-6A58-4AC3-BA4B-74146AFF60A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889C50-093C-44CD-9F44-6167FE8E94F6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9" name="Rectangle 82">
            <a:extLst>
              <a:ext uri="{FF2B5EF4-FFF2-40B4-BE49-F238E27FC236}">
                <a16:creationId xmlns:a16="http://schemas.microsoft.com/office/drawing/2014/main" id="{27207AFF-D65F-44BB-ABE6-E36B7498F3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2C2FAEFA-FA42-4307-98E4-11FC0D3584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115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1EF644C3-BD07-6F42-99C3-8410727AAF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2643202"/>
            <a:ext cx="5283200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CDC8C9A-A5A1-DC44-9C5A-22CFBA39C58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48400" y="2643202"/>
            <a:ext cx="5334003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ED0B6DA-B1AD-8E4B-8D28-00B2D6352F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5283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2A5599-054E-9A4C-941D-DEAF685255BE}"/>
              </a:ext>
            </a:extLst>
          </p:cNvPr>
          <p:cNvCxnSpPr>
            <a:cxnSpLocks/>
          </p:cNvCxnSpPr>
          <p:nvPr/>
        </p:nvCxnSpPr>
        <p:spPr>
          <a:xfrm>
            <a:off x="609601" y="2521444"/>
            <a:ext cx="5306479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3914B0B-B3F6-A24C-B306-C2DE3CCFF8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48400" y="1567214"/>
            <a:ext cx="53340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E64FE3A-369E-0945-9952-79DE2D0CB498}"/>
              </a:ext>
            </a:extLst>
          </p:cNvPr>
          <p:cNvCxnSpPr>
            <a:cxnSpLocks/>
          </p:cNvCxnSpPr>
          <p:nvPr/>
        </p:nvCxnSpPr>
        <p:spPr>
          <a:xfrm>
            <a:off x="6248400" y="2521444"/>
            <a:ext cx="53340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28027102-0F0C-44D6-B79F-C9D54C4E64B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687A00C-C9A6-DD42-9977-99993E7D4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6398BA2-811F-1C41-BC08-078B116D4ED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28E9757-427C-C249-9F47-223DCD7BF1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5C6B76-F1B3-4070-9AD9-721B1B3B1DD5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467C840-0571-4C02-AAFA-CE700D8B267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1" name="Rectangle 82">
            <a:extLst>
              <a:ext uri="{FF2B5EF4-FFF2-40B4-BE49-F238E27FC236}">
                <a16:creationId xmlns:a16="http://schemas.microsoft.com/office/drawing/2014/main" id="{835D992A-2A2E-4BE9-ACFF-BD1B9DE117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3A3102B0-7B34-461A-949A-FA77D39AA3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321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1207722-B163-475D-B601-1EA08B6AAA4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67100" y="1600200"/>
            <a:ext cx="81153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894B221-FC17-F343-84FB-9C6A7B7059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25146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0AFA99D6-3597-42EC-A393-B1F699E91E7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157C6BA9-A888-C046-9D14-AD47E7120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6561AB5-5D81-0845-909C-25323AA17C5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1E59CE0-76E6-D84F-9E45-E33A3094777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70EE53B-2173-45C7-95D3-A8EF5A8655B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30520A-BC26-4AF2-B7EF-CC50B7B9D86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5" name="Rectangle 82">
            <a:extLst>
              <a:ext uri="{FF2B5EF4-FFF2-40B4-BE49-F238E27FC236}">
                <a16:creationId xmlns:a16="http://schemas.microsoft.com/office/drawing/2014/main" id="{734ABA07-E849-4755-AEBA-D67411DD5F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FBB3CC5-958D-4B14-96F7-56A70D24D0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364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184">
          <p15:clr>
            <a:srgbClr val="FBAE40"/>
          </p15:clr>
        </p15:guide>
        <p15:guide id="9" pos="1968">
          <p15:clr>
            <a:srgbClr val="FBAE40"/>
          </p15:clr>
        </p15:guide>
      </p15:sldGuideLst>
    </p:ext>
  </p:extLs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97E3760-1BB7-4A60-8487-48CE1416C62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B38E0FE-FC45-D24E-BA98-E5CF5EA47103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026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DB9E50E-54A6-D849-A7F6-8093341C8184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81872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0838D896-7B63-466B-9032-10DAC8EC8BC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059B729-C6AE-024A-A0B1-CCF305824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E35142D-D790-6240-9E1C-1A74471BC44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6E9EADE-B7E9-1548-BE93-F92FE33A9CC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F424B3-9043-41D5-BB73-D95ECFBE8A5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50AC662-696C-417C-B404-73EAB33987A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3" name="Rectangle 82">
            <a:extLst>
              <a:ext uri="{FF2B5EF4-FFF2-40B4-BE49-F238E27FC236}">
                <a16:creationId xmlns:a16="http://schemas.microsoft.com/office/drawing/2014/main" id="{71DBFB0C-1ECC-44C0-9D78-9FD9A29ABD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26EFA58-F5F2-4D22-B97F-A621909A84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2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89BE8A8-1D24-0141-85A7-333554C30119}"/>
              </a:ext>
            </a:extLst>
          </p:cNvPr>
          <p:cNvCxnSpPr>
            <a:cxnSpLocks/>
          </p:cNvCxnSpPr>
          <p:nvPr/>
        </p:nvCxnSpPr>
        <p:spPr>
          <a:xfrm>
            <a:off x="609600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A0458D0-DECB-7844-94C6-EFB2F9402D5A}"/>
              </a:ext>
            </a:extLst>
          </p:cNvPr>
          <p:cNvCxnSpPr>
            <a:cxnSpLocks/>
          </p:cNvCxnSpPr>
          <p:nvPr/>
        </p:nvCxnSpPr>
        <p:spPr>
          <a:xfrm>
            <a:off x="3453977" y="3242438"/>
            <a:ext cx="244368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48E85A-F259-CF49-BE34-708227EC6828}"/>
              </a:ext>
            </a:extLst>
          </p:cNvPr>
          <p:cNvCxnSpPr>
            <a:cxnSpLocks/>
          </p:cNvCxnSpPr>
          <p:nvPr/>
        </p:nvCxnSpPr>
        <p:spPr>
          <a:xfrm>
            <a:off x="6257308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8AC0041-3EAA-134B-978F-4B02C0FF045F}"/>
              </a:ext>
            </a:extLst>
          </p:cNvPr>
          <p:cNvCxnSpPr>
            <a:cxnSpLocks/>
          </p:cNvCxnSpPr>
          <p:nvPr/>
        </p:nvCxnSpPr>
        <p:spPr>
          <a:xfrm>
            <a:off x="9097177" y="3242438"/>
            <a:ext cx="2489201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390D2F0-3AD5-4F47-A10B-E047B365B1A9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3391762"/>
            <a:ext cx="2489200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0399C588-DBAD-2742-B89F-D479F30059DC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3391762"/>
            <a:ext cx="2432423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CB9B4B18-23D4-6E42-8831-4A20A413C64A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7B833A7B-9585-DC41-B130-684A63887C7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9087971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CAA2DFC-CB9D-694C-955F-30EA6BD3C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E065487-BF64-9342-A721-6A8BA2B8CF6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C0303739-0C13-CC4B-8202-FEEEAAB3C12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244600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BC6978E9-423F-9244-9FF8-DCD46EBA565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07379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48D3479E-1D17-DF4D-840E-0E14AA554B7C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902984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95A82027-A669-A245-99A2-2D77B7D1A97E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732177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ADC148-5BD2-42F1-84B6-8B779F650FE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8C35B25-58B1-44D6-ACD5-8A9456D578CE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9751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04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4092CC5-4CE4-F14D-84E5-84942B23A7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339236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7756ABC-9266-214C-9F7B-E75E6FFA4963}"/>
              </a:ext>
            </a:extLst>
          </p:cNvPr>
          <p:cNvCxnSpPr>
            <a:cxnSpLocks/>
          </p:cNvCxnSpPr>
          <p:nvPr/>
        </p:nvCxnSpPr>
        <p:spPr>
          <a:xfrm>
            <a:off x="609601" y="2521444"/>
            <a:ext cx="3407308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9A161FA-C7FD-E645-A03F-D02DE0C8B2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19600" y="1567214"/>
            <a:ext cx="33528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9FB75EC-FDA1-D748-BDFC-0A34683F849E}"/>
              </a:ext>
            </a:extLst>
          </p:cNvPr>
          <p:cNvCxnSpPr>
            <a:cxnSpLocks/>
          </p:cNvCxnSpPr>
          <p:nvPr/>
        </p:nvCxnSpPr>
        <p:spPr>
          <a:xfrm>
            <a:off x="4419600" y="2521444"/>
            <a:ext cx="33528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30E2CEF-CCAC-CA4D-933F-027385DC49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78800" y="1567214"/>
            <a:ext cx="34036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6A0D02F-EE42-5B4C-BE0F-181D414229C6}"/>
              </a:ext>
            </a:extLst>
          </p:cNvPr>
          <p:cNvCxnSpPr>
            <a:cxnSpLocks/>
          </p:cNvCxnSpPr>
          <p:nvPr/>
        </p:nvCxnSpPr>
        <p:spPr>
          <a:xfrm>
            <a:off x="8178800" y="2521444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6CBFF784-7328-4B09-A4E9-1CD6CA2DDD1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E976D561-61ED-9B4A-B630-6E037061A8DD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12104" y="2628900"/>
            <a:ext cx="33527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BEE0402C-E2BF-DB44-AB66-828DA835BF0F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13310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2B04388-6E13-7143-8DB6-9C4E843A0AB8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8184004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318BDE0-5FD0-8D41-B77E-3DF3B75DE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1D12C16-1BB5-BC4F-B6F8-46FB22666D5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32ADFB7F-C7B5-A141-A05E-65D8E762C31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6F590C6-4DDD-48C4-A0F5-A86A02C9241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606489D-F18B-49E7-A430-AF0A802226B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9" name="Rectangle 82">
            <a:extLst>
              <a:ext uri="{FF2B5EF4-FFF2-40B4-BE49-F238E27FC236}">
                <a16:creationId xmlns:a16="http://schemas.microsoft.com/office/drawing/2014/main" id="{95324C5E-7673-4E81-B854-F9B46F10DC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2C1E5FC-54B6-4B67-941B-EA36974656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188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1656">
          <p15:clr>
            <a:srgbClr val="FBAE40"/>
          </p15:clr>
        </p15:guide>
      </p15:sldGuideLst>
    </p:ext>
  </p:extLs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13DA727-D0B5-5748-84C2-5C350C1088DF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1600200"/>
            <a:ext cx="2489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85C19EA8-0E28-4F5B-8F1D-27DD33CE3D5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EA5DA42-0A63-7149-B091-08D10F848F2E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1600200"/>
            <a:ext cx="2432423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ACB33F5F-6A95-C141-A4CB-F1354D41AD3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8CF80BC6-09DE-3740-8861-1869483A0ECD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41518C0-F58C-DA41-8B70-42DC6B9B5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93602B9-7F9B-AE4E-9BAF-34FC72E3CBF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95869B9-14BA-E94B-BFB4-EEEE6C185E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3B37F05-0F07-4AC7-AB0A-840C29CFAD7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F8EB945-89E4-4F5C-AABF-2F9F526C155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0" name="Rectangle 82">
            <a:extLst>
              <a:ext uri="{FF2B5EF4-FFF2-40B4-BE49-F238E27FC236}">
                <a16:creationId xmlns:a16="http://schemas.microsoft.com/office/drawing/2014/main" id="{8865593A-D405-4DD1-826B-23DB658C4C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CFD26917-46AC-48E4-A400-D514EE136D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238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70B93C1-A913-6949-9E7A-C612BA63F6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66616FA-1027-5A4A-AC2C-E2DC86D90196}"/>
              </a:ext>
            </a:extLst>
          </p:cNvPr>
          <p:cNvCxnSpPr>
            <a:cxnSpLocks/>
          </p:cNvCxnSpPr>
          <p:nvPr/>
        </p:nvCxnSpPr>
        <p:spPr>
          <a:xfrm>
            <a:off x="6096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5070E2-249F-2E41-8903-2C611249DB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EB18407-6858-9A4B-92C4-92013BAEACC6}"/>
              </a:ext>
            </a:extLst>
          </p:cNvPr>
          <p:cNvCxnSpPr>
            <a:cxnSpLocks/>
          </p:cNvCxnSpPr>
          <p:nvPr/>
        </p:nvCxnSpPr>
        <p:spPr>
          <a:xfrm>
            <a:off x="3454400" y="2521444"/>
            <a:ext cx="24384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A618BCB-5657-E640-B496-300C09D2BD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3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2571815-7AC9-4A48-8176-16337A1C25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8CA6EDF-309F-9C43-88A2-C720D2079C09}"/>
              </a:ext>
            </a:extLst>
          </p:cNvPr>
          <p:cNvCxnSpPr>
            <a:cxnSpLocks/>
          </p:cNvCxnSpPr>
          <p:nvPr/>
        </p:nvCxnSpPr>
        <p:spPr>
          <a:xfrm>
            <a:off x="90932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F0A98B5-2885-FC4B-8E93-11E6853D6063}"/>
              </a:ext>
            </a:extLst>
          </p:cNvPr>
          <p:cNvCxnSpPr>
            <a:cxnSpLocks/>
          </p:cNvCxnSpPr>
          <p:nvPr/>
        </p:nvCxnSpPr>
        <p:spPr>
          <a:xfrm>
            <a:off x="6248403" y="2521444"/>
            <a:ext cx="2489197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 descr="Logo&#10;&#10;Description automatically generated">
            <a:extLst>
              <a:ext uri="{FF2B5EF4-FFF2-40B4-BE49-F238E27FC236}">
                <a16:creationId xmlns:a16="http://schemas.microsoft.com/office/drawing/2014/main" id="{09356D0A-AA64-4DB5-96FB-8733B828976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1631775-8D64-4341-A917-ACCA02A442D2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2628900"/>
            <a:ext cx="2489200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4E99E6E9-2494-B940-B1EF-092C3EADC772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2628900"/>
            <a:ext cx="2432423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819DCF24-1964-3644-9168-FF49E2A566D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CF5FC023-DCB7-9848-9776-BCD9A603067E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8EC50DE8-D067-984E-9012-11FC27E62E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7D501EE-A03D-D64F-A115-5ECD03AA3F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D59275F-6240-2347-801C-D9B63A23481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CF193E4-ADC4-4233-AEA9-ABE6800A232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5A837DC-6429-46C6-A734-03312F3E3B0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30" name="Rectangle 82">
            <a:extLst>
              <a:ext uri="{FF2B5EF4-FFF2-40B4-BE49-F238E27FC236}">
                <a16:creationId xmlns:a16="http://schemas.microsoft.com/office/drawing/2014/main" id="{EA550C6F-2DC9-4D86-97C7-E888B0709B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28DF78A-ACD7-49E6-B3C8-4373BE61BC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223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0659210-753C-4957-8F25-A4D709FAB681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28DF06C-CFDC-2447-B7D4-E75EC0431F79}"/>
              </a:ext>
            </a:extLst>
          </p:cNvPr>
          <p:cNvCxnSpPr>
            <a:cxnSpLocks/>
          </p:cNvCxnSpPr>
          <p:nvPr/>
        </p:nvCxnSpPr>
        <p:spPr>
          <a:xfrm>
            <a:off x="60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F1E348A8-D8AD-8342-95C4-1E731B229D5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636295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BE5757E-813A-8F48-9A5A-EEC1071594D2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45273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7" name="Picture Placeholder 2">
            <a:extLst>
              <a:ext uri="{FF2B5EF4-FFF2-40B4-BE49-F238E27FC236}">
                <a16:creationId xmlns:a16="http://schemas.microsoft.com/office/drawing/2014/main" id="{95C65A02-D19F-294F-BC73-89CD66DB23DC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269171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pic>
        <p:nvPicPr>
          <p:cNvPr id="28" name="Picture 27" descr="Logo&#10;&#10;Description automatically generated">
            <a:extLst>
              <a:ext uri="{FF2B5EF4-FFF2-40B4-BE49-F238E27FC236}">
                <a16:creationId xmlns:a16="http://schemas.microsoft.com/office/drawing/2014/main" id="{D17E29F1-6D41-4628-913F-B22462B1C5B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0C183E4-86E4-6940-9A6D-E9DE7740EFA7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13310" y="3379809"/>
            <a:ext cx="340359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3ECD2BF-4248-F14F-AB63-732DFF2D5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8DA343F-1525-584F-88BA-86B0FE83B43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EE7EA97-253E-FB40-B94E-BE9389B08B5F}"/>
              </a:ext>
            </a:extLst>
          </p:cNvPr>
          <p:cNvCxnSpPr>
            <a:cxnSpLocks/>
          </p:cNvCxnSpPr>
          <p:nvPr/>
        </p:nvCxnSpPr>
        <p:spPr>
          <a:xfrm>
            <a:off x="441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BE90A3C5-FAC6-4A4A-B289-095811B7B144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423311" y="3379809"/>
            <a:ext cx="3349090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A926BB4-EEF2-5A49-844D-B93A3BB53E82}"/>
              </a:ext>
            </a:extLst>
          </p:cNvPr>
          <p:cNvCxnSpPr>
            <a:cxnSpLocks/>
          </p:cNvCxnSpPr>
          <p:nvPr/>
        </p:nvCxnSpPr>
        <p:spPr>
          <a:xfrm>
            <a:off x="81915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B46288C4-4A89-B443-8199-6DBD23F67C2B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8195210" y="3379809"/>
            <a:ext cx="339988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8D0F15B-D16C-1944-9EC2-DED14D92BDA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2BE0D9F-95D1-4003-A390-8D48D1D3680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FD9C543-41B1-4AA5-9309-C44DBC35EA1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5" name="Rectangle 82">
            <a:extLst>
              <a:ext uri="{FF2B5EF4-FFF2-40B4-BE49-F238E27FC236}">
                <a16:creationId xmlns:a16="http://schemas.microsoft.com/office/drawing/2014/main" id="{DE2DD1E8-5330-413D-9F31-068931B3A2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0FA43899-F5E8-4553-B9A7-947E54FF58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286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2040">
          <p15:clr>
            <a:srgbClr val="FBAE40"/>
          </p15:clr>
        </p15:guide>
      </p15:sldGuideLst>
    </p:ext>
  </p:extLs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89BE8A8-1D24-0141-85A7-333554C30119}"/>
              </a:ext>
            </a:extLst>
          </p:cNvPr>
          <p:cNvCxnSpPr>
            <a:cxnSpLocks/>
          </p:cNvCxnSpPr>
          <p:nvPr/>
        </p:nvCxnSpPr>
        <p:spPr>
          <a:xfrm>
            <a:off x="609600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A0458D0-DECB-7844-94C6-EFB2F9402D5A}"/>
              </a:ext>
            </a:extLst>
          </p:cNvPr>
          <p:cNvCxnSpPr>
            <a:cxnSpLocks/>
          </p:cNvCxnSpPr>
          <p:nvPr/>
        </p:nvCxnSpPr>
        <p:spPr>
          <a:xfrm>
            <a:off x="3453977" y="3242438"/>
            <a:ext cx="244368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48E85A-F259-CF49-BE34-708227EC6828}"/>
              </a:ext>
            </a:extLst>
          </p:cNvPr>
          <p:cNvCxnSpPr>
            <a:cxnSpLocks/>
          </p:cNvCxnSpPr>
          <p:nvPr/>
        </p:nvCxnSpPr>
        <p:spPr>
          <a:xfrm>
            <a:off x="6257308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8AC0041-3EAA-134B-978F-4B02C0FF045F}"/>
              </a:ext>
            </a:extLst>
          </p:cNvPr>
          <p:cNvCxnSpPr>
            <a:cxnSpLocks/>
          </p:cNvCxnSpPr>
          <p:nvPr/>
        </p:nvCxnSpPr>
        <p:spPr>
          <a:xfrm>
            <a:off x="9097177" y="3242438"/>
            <a:ext cx="2489201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94D37605-9A74-406B-A28B-01434EC535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390D2F0-3AD5-4F47-A10B-E047B365B1A9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3391762"/>
            <a:ext cx="2489200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0399C588-DBAD-2742-B89F-D479F30059DC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3391762"/>
            <a:ext cx="2432423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CB9B4B18-23D4-6E42-8831-4A20A413C64A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7B833A7B-9585-DC41-B130-684A63887C7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9087971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CAA2DFC-CB9D-694C-955F-30EA6BD3C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E065487-BF64-9342-A721-6A8BA2B8CF6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C0303739-0C13-CC4B-8202-FEEEAAB3C12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244600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BC6978E9-423F-9244-9FF8-DCD46EBA565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07379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48D3479E-1D17-DF4D-840E-0E14AA554B7C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902984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95A82027-A669-A245-99A2-2D77B7D1A97E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732177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3DE5F9E-3746-BC42-92AB-FEDCED42D71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DEAD3E0-81AC-41A7-B02C-F7C8E3C276C5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4CA7DE8-127A-4C0C-867D-2DAABF999D8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34" name="Rectangle 82">
            <a:extLst>
              <a:ext uri="{FF2B5EF4-FFF2-40B4-BE49-F238E27FC236}">
                <a16:creationId xmlns:a16="http://schemas.microsoft.com/office/drawing/2014/main" id="{61E28B04-8472-416E-B22B-550F0097ED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2BC05130-19EA-4277-8EFF-8F83DF90F8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561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04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92D46C0-E581-4328-BA0D-DC338A15645F}"/>
              </a:ext>
            </a:extLst>
          </p:cNvPr>
          <p:cNvSpPr/>
          <p:nvPr/>
        </p:nvSpPr>
        <p:spPr>
          <a:xfrm>
            <a:off x="-1" y="0"/>
            <a:ext cx="755620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455917-5D69-4B31-B459-CEA3616D55C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C4B767-72FE-4F41-A667-B94ACBB19DB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7F4FCB1-DF84-4814-9FFE-5E51FB46672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31B887E-1D14-B443-ACD5-1A404FA009A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8" name="Rectangle 82">
            <a:extLst>
              <a:ext uri="{FF2B5EF4-FFF2-40B4-BE49-F238E27FC236}">
                <a16:creationId xmlns:a16="http://schemas.microsoft.com/office/drawing/2014/main" id="{A9094A23-9529-40F6-8B6B-98D432DA91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8AB3269-A147-4CA5-B240-4B9657711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424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Yellow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37E9115E-63DF-4133-A626-4F14A7DBBDDE}"/>
              </a:ext>
            </a:extLst>
          </p:cNvPr>
          <p:cNvSpPr/>
          <p:nvPr/>
        </p:nvSpPr>
        <p:spPr>
          <a:xfrm>
            <a:off x="0" y="0"/>
            <a:ext cx="181722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455917-5D69-4B31-B459-CEA3616D55C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C4B767-72FE-4F41-A667-B94ACBB19DB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634F3A4-2E2A-344D-B907-C0C95A55CA6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5FB4FCC-3325-C845-9B15-E71FF67E5B1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Rectangle 82">
            <a:extLst>
              <a:ext uri="{FF2B5EF4-FFF2-40B4-BE49-F238E27FC236}">
                <a16:creationId xmlns:a16="http://schemas.microsoft.com/office/drawing/2014/main" id="{601852A1-73A4-4732-BEB2-AA892565DA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92AB0B1-437C-42D7-BD80-B4336B7DA4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4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457200"/>
            <a:ext cx="5334000" cy="5753100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A3EE50D-9DEA-9149-9049-FE0CE78B8409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6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2D5873B9-237F-4029-81C3-7DF4AE7E4F4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507D2AF-B968-8540-AB96-D7091A82A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6C401AA-42D6-3744-80D1-D2B7F64C7D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A396B81-A8CC-6A49-B843-D30A7CDAE7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139E18C-9244-4F8E-8874-0A704B4D19F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48614B-99AB-4109-AE47-2860B4C761C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82">
            <a:extLst>
              <a:ext uri="{FF2B5EF4-FFF2-40B4-BE49-F238E27FC236}">
                <a16:creationId xmlns:a16="http://schemas.microsoft.com/office/drawing/2014/main" id="{42A1717F-C6EA-400D-8E10-C6C4E7DCCB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20B357F-CA40-448C-B1C7-B0455246EF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804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09600" y="1600201"/>
            <a:ext cx="5283200" cy="3145055"/>
          </a:xfrm>
          <a:solidFill>
            <a:schemeClr val="tx2"/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656EAC5-6B5F-4341-86FF-B7369C9AD23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258044" y="1600201"/>
            <a:ext cx="53340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AFFEF14-326C-4366-BE6C-30F2EAEF06F4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FCD28B-5132-4352-9BA2-B2C48B333EB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0" y="4911693"/>
            <a:ext cx="5283200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C7F8A7A-3661-4A31-988A-37E7A64D4614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E7769BF2-3A16-429E-971C-E2ED4641AE3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13355B2A-3761-9B4A-A6CC-D82F751C5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9978769-6475-654F-8177-443C3A323D9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6CC2593-E020-1C41-B3F8-AD259BDD41F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58044" y="4911693"/>
            <a:ext cx="5324355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2626E75-A294-2F49-9D2A-F258BBC50F5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C109CE-3B47-410F-91BB-711F45926B4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5D53B0-AEE2-473F-B917-B8042CA583E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9" name="Rectangle 82">
            <a:extLst>
              <a:ext uri="{FF2B5EF4-FFF2-40B4-BE49-F238E27FC236}">
                <a16:creationId xmlns:a16="http://schemas.microsoft.com/office/drawing/2014/main" id="{AE31517B-3CE4-4A4E-97D5-9307E6C71A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58D9A30E-50F8-431F-BBD7-9157F79365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633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3096">
          <p15:clr>
            <a:srgbClr val="FBAE40"/>
          </p15:clr>
        </p15:guide>
      </p15:sldGuideLst>
    </p:ext>
  </p:extLs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E527502-AB0B-EA4C-93C1-E50D3BB46A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09600" y="1600201"/>
            <a:ext cx="34036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6B953B14-58B5-F64D-856E-665137C4F44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429455" y="1600201"/>
            <a:ext cx="3352801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D14F8D7C-7F6F-6143-9DE4-868B2E38A178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178797" y="1600201"/>
            <a:ext cx="3403603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089D5E7F-92DB-4D31-82AD-6D3677153D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472EF8D-56BE-AB48-A5F9-187114E95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5C8DF82-7F60-4849-A43B-8F4B9B5F0CA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CDCA026-D514-4D4B-AB98-08252DB87D8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09600" y="4911693"/>
            <a:ext cx="3423314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DF9BFF8-0532-EE45-9739-4B50F601F77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429245" y="4911693"/>
            <a:ext cx="3343155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82BB9B5-C539-B147-9A3E-C09EB047C38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91017" y="4911693"/>
            <a:ext cx="3403603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301442EF-174F-7C4C-948C-81FD2937D96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860610A-3A2F-41F6-A572-17E0B5918ED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B1B5DF1-398E-4039-9FEB-B800C1345BAB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3" name="Rectangle 82">
            <a:extLst>
              <a:ext uri="{FF2B5EF4-FFF2-40B4-BE49-F238E27FC236}">
                <a16:creationId xmlns:a16="http://schemas.microsoft.com/office/drawing/2014/main" id="{CA8C260F-0CCF-45E2-AF57-3E583D3AE0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F6E9724B-A7B5-4B2A-8B28-741A3F8BBF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041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Animated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80FA535-D4AF-42CF-9E01-4C837F26F4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0148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2" imgH="378" progId="TCLayout.ActiveDocument.1">
                  <p:embed/>
                </p:oleObj>
              </mc:Choice>
              <mc:Fallback>
                <p:oleObj name="think-cell Slide" r:id="rId5" imgW="382" imgH="3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80FA535-D4AF-42CF-9E01-4C837F26F4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0A6D42A5-3782-4C2C-9F77-15CD87FBF908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ver animation" descr="Cover animation">
            <a:extLst>
              <a:ext uri="{FF2B5EF4-FFF2-40B4-BE49-F238E27FC236}">
                <a16:creationId xmlns:a16="http://schemas.microsoft.com/office/drawing/2014/main" id="{7FC1DE2B-DAD6-47AB-9CB9-E8506337D6AE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6522783" y="0"/>
            <a:ext cx="5669217" cy="6823913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9F72CCA6-9EE3-C247-B43B-2AA3A4865D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292D8FE-1B47-1448-BFAB-BD805161A9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9F79052-C88A-1048-8CED-1033FB84B149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pic>
        <p:nvPicPr>
          <p:cNvPr id="8" name="Picture 7" descr="Background pattern, rectangle&#10;&#10;Description automatically generated">
            <a:extLst>
              <a:ext uri="{FF2B5EF4-FFF2-40B4-BE49-F238E27FC236}">
                <a16:creationId xmlns:a16="http://schemas.microsoft.com/office/drawing/2014/main" id="{ED388E55-55D7-5C40-ADE9-5CEA3FE4221C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199D746-2464-FD49-84E3-654E4F57AC0E}"/>
              </a:ext>
            </a:extLst>
          </p:cNvPr>
          <p:cNvSpPr txBox="1"/>
          <p:nvPr/>
        </p:nvSpPr>
        <p:spPr>
          <a:xfrm>
            <a:off x="9488985" y="6597985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86940F-7C28-224B-98AB-1812886ABDCC}"/>
              </a:ext>
            </a:extLst>
          </p:cNvPr>
          <p:cNvSpPr txBox="1"/>
          <p:nvPr/>
        </p:nvSpPr>
        <p:spPr>
          <a:xfrm>
            <a:off x="11562628" y="6597984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744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648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92D46C0-E581-4328-BA0D-DC338A15645F}"/>
              </a:ext>
            </a:extLst>
          </p:cNvPr>
          <p:cNvSpPr/>
          <p:nvPr/>
        </p:nvSpPr>
        <p:spPr>
          <a:xfrm>
            <a:off x="-1" y="0"/>
            <a:ext cx="755620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31B887E-1D14-B443-ACD5-1A404FA009A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842643-0001-43A1-8A1D-935AC13EF9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7537" y="6474140"/>
            <a:ext cx="552780" cy="17910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BFFAD7E-5332-4140-A25A-4C1D314E207A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612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Tw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56BCCFD-B912-2F49-AE52-7814FFDCB534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832065A-C6D7-614D-A733-535BCA5ADF1B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8"/>
            <a:ext cx="5334000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7C7B404-7F93-AD4C-BE41-E5247D351B57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248399" y="471458"/>
            <a:ext cx="5334001" cy="273196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7B25303E-21E4-4DA8-B538-6050CF5B75B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A5108AEE-9096-4643-8AFA-8EFF143BF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7962758-65CF-1D46-ADE8-60345727EDE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62937F0-7412-EA41-B511-EA81EB0FE83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1CFCE6-4389-4631-971B-C5551A0173C9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B961A7C-FF07-4129-BD07-6DC2F260A1D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82">
            <a:extLst>
              <a:ext uri="{FF2B5EF4-FFF2-40B4-BE49-F238E27FC236}">
                <a16:creationId xmlns:a16="http://schemas.microsoft.com/office/drawing/2014/main" id="{B1B89650-1F66-4052-A9A9-67F248E2A3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11C233F7-CA56-43DD-BA29-A334B67DC0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569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Thre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90AF7A3C-BA0F-9B49-B1B5-D713C19139C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2"/>
            <a:ext cx="5346192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61755EBA-80EC-6B4F-B350-DC2DD71209FC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455C0536-27A6-644D-8348-9541070F401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248400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B3F5BBC4-47E5-1E46-9E4F-B0D0BB7BAB04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001094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0D0C48DC-3206-40BC-A585-F0FD6F0BB78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38045DB-4C64-CE4D-B8E5-9949681D1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B569F93-B18A-C246-94EF-34A7D4EDD94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42BCFDB-7549-A74E-9341-258E6AB17A0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4E2A106-4F39-4E97-BFB5-DFFCCB4056E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40BDDF-AEFD-4BE1-9247-7302A27E82D6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0AA8200B-94AD-4E3A-9452-3DA219FF8B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D9D5722-E9DB-4867-A638-593AAD071C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159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248400" y="3308593"/>
            <a:ext cx="5346192" cy="2726853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A2E6023-8A40-1E44-BD81-EED366C96875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001094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65C3A6A-0967-1E4F-8831-6EA71CD06F5D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09600" y="1081613"/>
            <a:ext cx="5486399" cy="495382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D023B447-C472-4FFB-8146-9C4B4AB0C67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1FAB2697-2712-FE45-8DA0-EF63106E2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69977AA-16BB-0C4F-A664-D6686D72F1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2E3B1F5-C5F5-B945-9146-E3FE66ADCC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2CA8F6-DF4D-4772-AB33-EC493EEF4B9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988813-B187-455D-85DF-CBB5882CF1AA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AF411E5E-09DF-4E28-BE6E-3BC247AC4B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4E4D1E69-DB61-4528-810A-8CE6E03B78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884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pos="3840">
          <p15:clr>
            <a:srgbClr val="FBAE40"/>
          </p15:clr>
        </p15:guide>
      </p15:sldGuideLst>
    </p:ext>
  </p:extLs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031890" y="-10673"/>
            <a:ext cx="4160109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FBB367A8-8DCC-6847-8D30-74516D9E043C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031889" y="2390327"/>
            <a:ext cx="4160111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32A0B33A-CF8B-1947-ACB2-AB69665D80A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-1" y="1380745"/>
            <a:ext cx="7303008" cy="5477257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5263181-B1D9-4115-9FC4-9CE6FD8E5B0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FDD1D1A5-5D9F-764D-A02B-21CB1442F7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FF61E78-AFFB-F44B-BFDB-C2B5875FA03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7BB4FD-6BC9-4C9C-8922-DD575DD56B1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7A549D4-3018-4CAF-B7B1-806723A2E4F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72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59DC62E-7380-5A49-8746-53EFA12DC6E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1" y="1600201"/>
            <a:ext cx="2946400" cy="3619500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3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300"/>
              </a:spcBef>
              <a:defRPr sz="1400"/>
            </a:lvl3pPr>
            <a:lvl4pPr>
              <a:lnSpc>
                <a:spcPct val="100000"/>
              </a:lnSpc>
              <a:spcBef>
                <a:spcPts val="3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3CFF718-B5F0-3D45-A03C-81D5E2147CD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973689" y="2816352"/>
            <a:ext cx="7608711" cy="3124200"/>
          </a:xfrm>
        </p:spPr>
        <p:txBody>
          <a:bodyPr wrap="square" anchor="b" anchorCtr="0"/>
          <a:lstStyle>
            <a:lvl1pPr algn="r">
              <a:lnSpc>
                <a:spcPts val="18500"/>
              </a:lnSpc>
              <a:spcBef>
                <a:spcPts val="0"/>
              </a:spcBef>
              <a:defRPr sz="25000" b="0" i="0" kern="0" spc="-1000" baseline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E2D2F661-3E7F-4601-B99E-2135C7ADBC6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952DD641-DB3B-6F45-8A70-05A69559D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747253A-0C59-CE4B-BC84-E5D8D706360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6FCD28A-7F94-9C4F-A31C-BF109312526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4437C85-71C1-4965-98AA-AB322A645B0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D4069C1-CB70-47E8-BE89-934AD89EEC3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0C740D10-9B97-44BE-95CE-85CE3FC26E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7CFDDEBB-1A5D-495C-9562-C31BD2590B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554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496">
          <p15:clr>
            <a:srgbClr val="FBAE40"/>
          </p15:clr>
        </p15:guide>
        <p15:guide id="9" pos="2240">
          <p15:clr>
            <a:srgbClr val="FBAE40"/>
          </p15:clr>
        </p15:guide>
        <p15:guide id="10" orient="horz" pos="3288">
          <p15:clr>
            <a:srgbClr val="FBAE40"/>
          </p15:clr>
        </p15:guide>
      </p15:sldGuideLst>
    </p:ext>
  </p:extLs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600201"/>
            <a:ext cx="5283200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7D909CE-D30F-4445-9B83-FD490780AD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" y="4745032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E55C82F-13DC-204D-866F-573A53A30E3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8400" y="4739396"/>
            <a:ext cx="53340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600201"/>
            <a:ext cx="5328355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55A8E6FD-35F4-417D-9B41-7DE2887E7D7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75B0F87-EFC2-B148-AC62-E7EDC82B6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F63A11A-E0DC-C441-8C0C-0C92B7CC32E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AAE6A4A-48A8-1C40-A6AE-398355A5309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AAA50A3-83EF-4952-8632-FFE353522B47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A21BB5-F73D-4D3A-9933-F159EB15525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4" name="Rectangle 82">
            <a:extLst>
              <a:ext uri="{FF2B5EF4-FFF2-40B4-BE49-F238E27FC236}">
                <a16:creationId xmlns:a16="http://schemas.microsoft.com/office/drawing/2014/main" id="{73567009-B66A-43BE-BD71-850B1B769B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5E3CD348-086A-4EF0-99C7-DBD451CA3C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272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331449"/>
            <a:ext cx="4462271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33144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E260A1A-688B-774C-903C-0A3A1228859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09600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BF07118-053B-414A-A34E-2E71FB891D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66688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884995DE-D9B7-F74A-9A09-BC6B33E180B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09601" y="3663169"/>
            <a:ext cx="4462272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397435F2-C0C2-E842-AD20-5B59B875A84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4045" y="366316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8CC7B25-E7E3-7A4F-9221-95D452FB9BF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9600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0496160-F36D-7148-9711-3D00BA6DF6B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66688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40A50952-A356-4EB0-8B8C-C588EE15A9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850DE0C8-C2ED-EF4F-9321-CC3341907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91112C-9FF7-DE43-AF82-37C4452C4F3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23A338C-009A-CB4B-BC74-339517B20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A71106C-2D60-4B3B-9163-BD2E616B86A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3CD4302-0E8F-4769-AB5B-7BD122BAF5D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9" name="Rectangle 82">
            <a:extLst>
              <a:ext uri="{FF2B5EF4-FFF2-40B4-BE49-F238E27FC236}">
                <a16:creationId xmlns:a16="http://schemas.microsoft.com/office/drawing/2014/main" id="{B4A4D5CF-C4C7-450C-9334-31DAE7973B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BD5B6EC9-6C56-4B67-B97E-62C7608F72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574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CF991D5-199B-426D-9571-F9BA920D307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B04D166-4958-9349-BD73-4AD540758D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10202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D83C91-857A-4B26-8D8A-56951DA295AF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7981E2-A37D-44F7-9BC3-BADD5267227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07FB442-219B-44B4-AD5F-F32C15ED6B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3" name="Rectangle 82">
            <a:extLst>
              <a:ext uri="{FF2B5EF4-FFF2-40B4-BE49-F238E27FC236}">
                <a16:creationId xmlns:a16="http://schemas.microsoft.com/office/drawing/2014/main" id="{5DEB0253-B61C-4C06-B8BF-8EE16408EB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551740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Gray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C7F45CD2-0507-4E64-B158-16FDC542385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E99A931-BFA9-5441-87EA-3CF04D1426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102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23A58EC-AF56-4ACE-99F7-40FDEFE6CA3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FF630E-A1BB-4624-BDA0-23B817EB760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8" name="Rectangle 82">
            <a:extLst>
              <a:ext uri="{FF2B5EF4-FFF2-40B4-BE49-F238E27FC236}">
                <a16:creationId xmlns:a16="http://schemas.microsoft.com/office/drawing/2014/main" id="{5EEC0B24-129B-4EC5-975C-C51DF6D5D4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77B03D-52D0-44B7-A11D-C6D7C8F4D6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419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42602" y="2091325"/>
            <a:ext cx="7906795" cy="2675350"/>
          </a:xfrm>
        </p:spPr>
        <p:txBody>
          <a:bodyPr anchor="ctr" anchorCtr="0">
            <a:norm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 algn="ctr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C7D283C-70D9-4F79-8CCF-D2CBB0F3466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pic>
        <p:nvPicPr>
          <p:cNvPr id="10" name="Picture 9" descr="Logo, icon, company name&#10;&#10;Description automatically generated">
            <a:extLst>
              <a:ext uri="{FF2B5EF4-FFF2-40B4-BE49-F238E27FC236}">
                <a16:creationId xmlns:a16="http://schemas.microsoft.com/office/drawing/2014/main" id="{C96BA8FE-3771-B54A-859B-C75E4B87088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303323"/>
            <a:ext cx="2934502" cy="1645920"/>
          </a:xfrm>
          <a:prstGeom prst="rect">
            <a:avLst/>
          </a:prstGeom>
        </p:spPr>
      </p:pic>
      <p:pic>
        <p:nvPicPr>
          <p:cNvPr id="11" name="Picture 10" descr="Logo, icon, company name&#10;&#10;Description automatically generated">
            <a:extLst>
              <a:ext uri="{FF2B5EF4-FFF2-40B4-BE49-F238E27FC236}">
                <a16:creationId xmlns:a16="http://schemas.microsoft.com/office/drawing/2014/main" id="{2EEAE64F-E79B-A540-A03C-DED1488A624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4908758"/>
            <a:ext cx="2934502" cy="164592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BC7BAB9-5828-4672-9095-605C815C6DA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214915C-8206-4E74-A63E-C99114665ED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2">
            <a:extLst>
              <a:ext uri="{FF2B5EF4-FFF2-40B4-BE49-F238E27FC236}">
                <a16:creationId xmlns:a16="http://schemas.microsoft.com/office/drawing/2014/main" id="{CA75BB9F-E74B-4526-972F-61B0B867B6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8EE9B830-85A7-4002-B6FF-31E4D6C812F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044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Yellow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37E9115E-63DF-4133-A626-4F14A7DBBDDE}"/>
              </a:ext>
            </a:extLst>
          </p:cNvPr>
          <p:cNvSpPr/>
          <p:nvPr/>
        </p:nvSpPr>
        <p:spPr>
          <a:xfrm>
            <a:off x="0" y="0"/>
            <a:ext cx="181722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634F3A4-2E2A-344D-B907-C0C95A55CA6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35702" y="639250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5FB4FCC-3325-C845-9B15-E71FF67E5B1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2075" y="6480100"/>
            <a:ext cx="552780" cy="17910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AF450C2-6363-4814-A024-A7534AF61432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262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- Phot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6B00F83-3660-194B-97E0-4599783E67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881BD6-5C0C-4CDA-94FE-9534E908DD6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C31686-0601-49A1-A560-B36639F0D21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5B4EFF-0041-084A-B0F9-54D99AB17BB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DC41F9E0-99DE-4EF6-BE3B-F2A540D376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3" name="Rectangle 82">
            <a:extLst>
              <a:ext uri="{FF2B5EF4-FFF2-40B4-BE49-F238E27FC236}">
                <a16:creationId xmlns:a16="http://schemas.microsoft.com/office/drawing/2014/main" id="{BD655E7D-751C-49ED-A7A4-343B011DCE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83222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- Phot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5E62AD0-7492-9248-A420-17A87723997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3810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345161-A988-430F-8F5D-2140002DC367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D2F956-51D0-4CEA-A8C6-557C9124840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D296CD9-FDC7-E14B-9F75-98F387A88DF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A7AD0F4A-2811-4BB3-BD43-574EFBED6B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D097AEDD-6F7D-491E-9022-5367E211A5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936333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3636A9D-BC65-4B42-A456-9F235FD32DA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6B624A7-6C4C-4B8C-B311-91708EF3AD8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97C293-4151-4F45-BEFC-FBBBEE255F6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DE94B9AF-D958-42B7-9E0F-43B000094F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4663C675-43E6-4D1C-ACEB-414C5A3B8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788046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F090D58-AEDB-42F6-B499-08E75F7E159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64CFA36-6835-0746-9840-0E0BCAB2C9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516909-E1B2-444A-B3A8-7FCD52854FA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4AB5A1-60F2-4271-9FAC-E31461C114A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BB4048D-0888-4E8F-A04B-FB880F2766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2" name="Rectangle 82">
            <a:extLst>
              <a:ext uri="{FF2B5EF4-FFF2-40B4-BE49-F238E27FC236}">
                <a16:creationId xmlns:a16="http://schemas.microsoft.com/office/drawing/2014/main" id="{0E46A227-F641-47B1-9A58-5EEE3D8879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542486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E1D89F0-AB54-E544-B426-C59272FE43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611252"/>
            <a:ext cx="5784219" cy="1817748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6337524D-5A5E-48A2-BEB4-E3CD8A10DC4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112A3CB-66FF-49A9-9F83-DC384BD34AB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71590D-A924-4EC3-8C0E-CF38A11B8CCB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7287E25B-F496-48FB-A1F3-00BF981BCF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B2F443A-4766-448A-A9C1-4F04BB2A7F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135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A4E5295-54E4-5142-89B4-6296C4B8CF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E79ADCA6-5135-4529-BEBF-9555A7E463A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38F4279-0F64-1745-A6B8-C2704BC5A301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-830952" y="457200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63AACBE6-E182-6345-AFB0-E51AFD9846EE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10741427" y="3920825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B2706E-392F-4651-A72C-C804CD1AD8B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0567C7-587B-4D80-9DC9-AE3BEC155FE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0" name="Rectangle 82">
            <a:extLst>
              <a:ext uri="{FF2B5EF4-FFF2-40B4-BE49-F238E27FC236}">
                <a16:creationId xmlns:a16="http://schemas.microsoft.com/office/drawing/2014/main" id="{55E5992C-6B07-4C78-96F0-0182579C06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8E6F422-E210-43D8-AADA-2220E8CA49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150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Quote - Photo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F536B2A-9621-8D43-9647-6BD326BB0E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F7283E-B18E-4891-9644-6A173F99F93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B3F41F-14AC-40D6-B66D-AAEADBE8496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320A0BB-A1CC-7340-BA3E-73149B252C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9" name="Rectangle 82">
            <a:extLst>
              <a:ext uri="{FF2B5EF4-FFF2-40B4-BE49-F238E27FC236}">
                <a16:creationId xmlns:a16="http://schemas.microsoft.com/office/drawing/2014/main" id="{9529F147-079C-485E-8EB3-35E144D227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CC11AF5-2860-4542-A810-735AFA563F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6272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F768C6C-CF58-204D-9B49-15E274BCFB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533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C770A6F-4F30-4069-B2E6-125B0281942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512FA1-C9F4-4FC5-8840-41326195738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34EFCDF-3A0F-A74C-8E18-D7C3D5D52FF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6E295A5-5AF7-4927-9ACA-D07BFA3124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C1B4EE23-3E7F-4607-8598-62877FA813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057324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C9001175-7075-1645-A2F8-5CFF254A79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4098631"/>
            <a:ext cx="5486400" cy="255210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For more information, please contact: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7BDC76E-3EAD-FF42-A2C0-030580EC536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600" y="4456611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31DD59B-560C-1E42-BC4F-D82BCCB9388E}"/>
              </a:ext>
            </a:extLst>
          </p:cNvPr>
          <p:cNvCxnSpPr>
            <a:cxnSpLocks/>
          </p:cNvCxnSpPr>
          <p:nvPr/>
        </p:nvCxnSpPr>
        <p:spPr>
          <a:xfrm>
            <a:off x="609600" y="4369549"/>
            <a:ext cx="5283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038108E8-A91B-544B-AE58-E579F97F32F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60494" y="4456611"/>
            <a:ext cx="5321905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92F71DB-5BDC-4740-BCA4-437EB0A68AB1}"/>
              </a:ext>
            </a:extLst>
          </p:cNvPr>
          <p:cNvCxnSpPr>
            <a:cxnSpLocks/>
          </p:cNvCxnSpPr>
          <p:nvPr/>
        </p:nvCxnSpPr>
        <p:spPr>
          <a:xfrm>
            <a:off x="6260496" y="4369549"/>
            <a:ext cx="5321905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8DC9CEBF-A997-3847-A730-F505EFD8210D}"/>
              </a:ext>
            </a:extLst>
          </p:cNvPr>
          <p:cNvSpPr txBox="1">
            <a:spLocks/>
          </p:cNvSpPr>
          <p:nvPr/>
        </p:nvSpPr>
        <p:spPr>
          <a:xfrm>
            <a:off x="609600" y="2335492"/>
            <a:ext cx="10972800" cy="1318883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Visa Dialect Medium" pitchFamily="2" charset="0"/>
                <a:ea typeface="+mj-ea"/>
                <a:cs typeface="+mj-cs"/>
              </a:defRPr>
            </a:lvl1pPr>
          </a:lstStyle>
          <a:p>
            <a:r>
              <a:rPr lang="en-US" sz="8000" spc="-150"/>
              <a:t>Thank you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93703EF-3215-7C4F-9099-263CB544039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13" name="Picture 12" descr="Background pattern, rectangle&#10;&#10;Description automatically generated">
            <a:extLst>
              <a:ext uri="{FF2B5EF4-FFF2-40B4-BE49-F238E27FC236}">
                <a16:creationId xmlns:a16="http://schemas.microsoft.com/office/drawing/2014/main" id="{1158DE16-2738-D94E-92CB-790882C8E9E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72438FC-1EF6-4544-9CC6-2A755FA71C2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9F5E8F3-335C-4384-B1FF-B8461A4CD16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FF082EAE-B6FC-4B36-9523-D2E76077D8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BAD20CDC-AF6E-4D4B-B7CE-63543EEAD8F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547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44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560">
          <p15:clr>
            <a:srgbClr val="FBAE40"/>
          </p15:clr>
        </p15:guide>
      </p15:sldGuideLst>
    </p:ext>
  </p:extLs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Quot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0C35452-CE92-4041-B1AB-4652EFF98AA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22A93CE-8ECC-45F5-AEF3-66B86A05880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4ADE85-FE04-4C1D-A0E3-C416257E524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23F1296-C6EE-48BC-A658-6FFA134CDA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7" name="Rectangle 82">
            <a:extLst>
              <a:ext uri="{FF2B5EF4-FFF2-40B4-BE49-F238E27FC236}">
                <a16:creationId xmlns:a16="http://schemas.microsoft.com/office/drawing/2014/main" id="{6C1945D4-C0C4-4AE0-AC47-E44CF829FD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258501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457200"/>
            <a:ext cx="5334000" cy="5753100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A3EE50D-9DEA-9149-9049-FE0CE78B8409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6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507D2AF-B968-8540-AB96-D7091A82A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6C401AA-42D6-3744-80D1-D2B7F64C7D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EA35D1E-0E4D-41D1-B3C9-24F69D3E0FF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77C0976-1302-44F0-A85F-0BB135AF80CD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549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Quot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DFA0D9A1-9E83-48FE-BA25-BF5B3FC5241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AF825AC-87A8-4DE1-883F-A7D4E837D14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9" name="Picture 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4C178F04-8C13-4DD6-BAE5-DE0ED7BE499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A6CFD8C-17D1-4CF1-8DC5-0B8EBD70374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6" name="Rectangle 82">
            <a:extLst>
              <a:ext uri="{FF2B5EF4-FFF2-40B4-BE49-F238E27FC236}">
                <a16:creationId xmlns:a16="http://schemas.microsoft.com/office/drawing/2014/main" id="{1F225078-D262-47FA-B0A1-8B5542DC00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A7296F1-C131-4225-AF9A-2EE33EEE341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8527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 -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8BB0E5B-E71F-4DFB-B0A8-8288771CB65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956CE09-72E4-4F2E-BB26-6A8A49D6757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60ACAD5-BE41-4375-8AF5-FE4014A387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339E6AB4-C07A-4E22-A99C-EF0933C498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802620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F9602-2B41-46BA-9D8D-C665678DA2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BB4EB79-848F-4CD8-8C6C-DFC69458291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05BB1F-B34B-44A8-A1E1-A270EA99B7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AFCCB-C1F4-4FB5-9416-901D6905A24E}" type="datetimeFigureOut">
              <a:rPr lang="en-US" smtClean="0"/>
              <a:t>8/12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7BAE11-ACCB-41D8-9357-127D4C407B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84107A-0B26-4478-99D9-8D30185EDC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0D62C-B364-48C5-A934-2F757D9458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866011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B796B2-E9E7-4A1D-AD60-1EB8C21CF2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B3BD4A8-0E52-4FFD-81E5-4667BBF1EFC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B95E950-296F-E542-B8F2-E86E8C26F9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341839-DFD3-DC46-B0B1-748514F6A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1E25E2-478B-4A61-B489-BCCB76E32FAB}"/>
              </a:ext>
            </a:extLst>
          </p:cNvPr>
          <p:cNvSpPr txBox="1"/>
          <p:nvPr/>
        </p:nvSpPr>
        <p:spPr>
          <a:xfrm>
            <a:off x="9490043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3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D9929F-8F44-4512-A3C5-4A94AA39173E}"/>
              </a:ext>
            </a:extLst>
          </p:cNvPr>
          <p:cNvSpPr txBox="1"/>
          <p:nvPr/>
        </p:nvSpPr>
        <p:spPr>
          <a:xfrm>
            <a:off x="11563686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125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8A5BA51-F084-46F7-93C2-7B53463A69A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8FFAC3C-0074-FE4C-A801-A8774F5415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EA814F0-7225-EE49-AEEB-8D88CDE9E2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8E4219-BF8A-EF4A-A133-8697CB3D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09379F6-E593-2BB4-A9FF-4D8A3ED1B259}"/>
              </a:ext>
            </a:extLst>
          </p:cNvPr>
          <p:cNvSpPr txBox="1"/>
          <p:nvPr userDrawn="1"/>
        </p:nvSpPr>
        <p:spPr>
          <a:xfrm>
            <a:off x="9490043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3 Visa. All rights reserved. Visa Confidenti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645AA6-BDB2-6CE6-2529-82672632663A}"/>
              </a:ext>
            </a:extLst>
          </p:cNvPr>
          <p:cNvSpPr txBox="1"/>
          <p:nvPr userDrawn="1"/>
        </p:nvSpPr>
        <p:spPr>
          <a:xfrm>
            <a:off x="11563686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1017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19E6CA2-344D-4DE3-AED7-2763D00E6F2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5B45E48-5A8A-7C43-968E-E1237A2CF6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E458D01-2E76-4D49-95E3-8329F9C32E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821AC90-4858-944A-AAA3-8FB5B5B21A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ABD1E2C-8816-5CDE-A990-266A2CB25ED2}"/>
              </a:ext>
            </a:extLst>
          </p:cNvPr>
          <p:cNvSpPr txBox="1"/>
          <p:nvPr userDrawn="1"/>
        </p:nvSpPr>
        <p:spPr>
          <a:xfrm>
            <a:off x="9490043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3 Visa. All rights reserved. Visa Confidenti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F26F11-E81E-8611-34FB-BB4D73143380}"/>
              </a:ext>
            </a:extLst>
          </p:cNvPr>
          <p:cNvSpPr txBox="1"/>
          <p:nvPr userDrawn="1"/>
        </p:nvSpPr>
        <p:spPr>
          <a:xfrm>
            <a:off x="11563686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001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4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0CB6150-C0E7-4A2D-82C2-2A7C8BF43AD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CB1B974-08D3-AB49-86CE-CCE82104A9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DFFAE56-C962-6C4A-AD68-F109E1F4C0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67E79CE-AD17-A442-A7EE-EEA5858FBA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40A832-74F0-572F-3F8D-6AFB197616ED}"/>
              </a:ext>
            </a:extLst>
          </p:cNvPr>
          <p:cNvSpPr txBox="1"/>
          <p:nvPr userDrawn="1"/>
        </p:nvSpPr>
        <p:spPr>
          <a:xfrm>
            <a:off x="9490043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3 Visa. All rights reserved. Visa Confidenti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B35EF96-B383-9C23-6242-C430E541FBC8}"/>
              </a:ext>
            </a:extLst>
          </p:cNvPr>
          <p:cNvSpPr txBox="1"/>
          <p:nvPr userDrawn="1"/>
        </p:nvSpPr>
        <p:spPr>
          <a:xfrm>
            <a:off x="11563686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708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5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7BAF715-EBE8-446C-91FD-813ACDD79FA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77865E-7ADA-7C48-AC7C-7BD23AFA87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B5A86F8-9249-2941-BCE8-3144DCB36D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B89671E-C5A3-AC49-961F-0681EA7A7A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A96B7D3-5432-2A3B-3371-340C882472AC}"/>
              </a:ext>
            </a:extLst>
          </p:cNvPr>
          <p:cNvSpPr txBox="1"/>
          <p:nvPr userDrawn="1"/>
        </p:nvSpPr>
        <p:spPr>
          <a:xfrm>
            <a:off x="9490043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3 Visa. All rights reserved. Visa Confidenti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FC6027-587D-C891-9120-97304EF878B2}"/>
              </a:ext>
            </a:extLst>
          </p:cNvPr>
          <p:cNvSpPr txBox="1"/>
          <p:nvPr userDrawn="1"/>
        </p:nvSpPr>
        <p:spPr>
          <a:xfrm>
            <a:off x="11563686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152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6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10B0A4C-A4E3-4EFF-811D-C8F7F71DDAD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3B9DD37-5DFE-4A41-8FA8-34800D0AD8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CC9C687-5164-DD4B-905F-8D9278B64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1DCF08D-7562-D34D-A3B4-44FC665F46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F7B1C4D-A42E-38F9-85D2-0616E3CD2480}"/>
              </a:ext>
            </a:extLst>
          </p:cNvPr>
          <p:cNvSpPr txBox="1"/>
          <p:nvPr userDrawn="1"/>
        </p:nvSpPr>
        <p:spPr>
          <a:xfrm>
            <a:off x="9490043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3 Visa. All rights reserved. Visa Confidenti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F9061C3-7E33-2C91-6215-9DB452343D4A}"/>
              </a:ext>
            </a:extLst>
          </p:cNvPr>
          <p:cNvSpPr txBox="1"/>
          <p:nvPr userDrawn="1"/>
        </p:nvSpPr>
        <p:spPr>
          <a:xfrm>
            <a:off x="11563686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5448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7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882F6FB-6C88-4EEE-9198-A9B87177A1B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5156B22-A2E9-B341-8510-C9C5982CFD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0F1350D-FD1E-384F-BE94-2292ED259F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64FC454-9417-9341-BB90-0BEC752290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92D309E-7CD4-909D-22EA-6ACEE7207314}"/>
              </a:ext>
            </a:extLst>
          </p:cNvPr>
          <p:cNvSpPr txBox="1"/>
          <p:nvPr userDrawn="1"/>
        </p:nvSpPr>
        <p:spPr>
          <a:xfrm>
            <a:off x="9490043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3 Visa. All rights reserved. Visa Confidenti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21A3B1F-F2B1-F7DE-DFE9-8AD008D352EB}"/>
              </a:ext>
            </a:extLst>
          </p:cNvPr>
          <p:cNvSpPr txBox="1"/>
          <p:nvPr userDrawn="1"/>
        </p:nvSpPr>
        <p:spPr>
          <a:xfrm>
            <a:off x="11563686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30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09600" y="1600201"/>
            <a:ext cx="5283200" cy="3145055"/>
          </a:xfrm>
          <a:solidFill>
            <a:schemeClr val="tx2"/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656EAC5-6B5F-4341-86FF-B7369C9AD23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258044" y="1600201"/>
            <a:ext cx="53340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AFFEF14-326C-4366-BE6C-30F2EAEF06F4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FCD28B-5132-4352-9BA2-B2C48B333EB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0" y="4911693"/>
            <a:ext cx="5283200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C7F8A7A-3661-4A31-988A-37E7A64D4614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13355B2A-3761-9B4A-A6CC-D82F751C5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9978769-6475-654F-8177-443C3A323D9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6CC2593-E020-1C41-B3F8-AD259BDD41F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58044" y="4911693"/>
            <a:ext cx="5324355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20C8FAB-B5E8-442D-A62F-99296559BB9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C25A058-6D8A-48C9-B623-C447F7AFDC91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1370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3096">
          <p15:clr>
            <a:srgbClr val="FBAE40"/>
          </p15:clr>
        </p15:guide>
      </p15:sldGuideLst>
    </p:ext>
  </p:extLs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8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34E0250-7EA6-A14E-85A2-70CC7AF598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FB486BD-B31D-2746-A2D9-D74A5612C6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9B97EB1-495E-7643-8ACA-13F7587376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E749602-2703-420C-8E06-C21DD3AB922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8C76D98-9B6D-048A-8175-6BF1CE286B01}"/>
              </a:ext>
            </a:extLst>
          </p:cNvPr>
          <p:cNvSpPr txBox="1"/>
          <p:nvPr userDrawn="1"/>
        </p:nvSpPr>
        <p:spPr>
          <a:xfrm>
            <a:off x="9490043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3 Visa. All rights reserved. Visa Confidenti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506692E-7F34-59B3-F80C-CCF66FBC73E5}"/>
              </a:ext>
            </a:extLst>
          </p:cNvPr>
          <p:cNvSpPr txBox="1"/>
          <p:nvPr userDrawn="1"/>
        </p:nvSpPr>
        <p:spPr>
          <a:xfrm>
            <a:off x="11563686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167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45919AD-36C2-4214-89C4-F6CAFE1A95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0AEBB67-1858-8045-8897-E60ACC3C616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4826C0C-2EDB-488A-8715-85AF64027CCD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785AC-4A3E-4F1C-B384-9A61E41DFD2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3146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  <p15:guide id="5" pos="5736">
          <p15:clr>
            <a:srgbClr val="FBAE40"/>
          </p15:clr>
        </p15:guide>
      </p15:sldGuideLst>
    </p:ext>
  </p:extLs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­ - Illustrati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2841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6B01A99-F0E4-4F6A-9814-CECDD9DC96F6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38B7B0-D097-7C40-B18F-DF9854A1FD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1600200"/>
            <a:ext cx="8155179" cy="3714750"/>
          </a:xfr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Visa Dialect Regular 18pt</a:t>
            </a:r>
          </a:p>
          <a:p>
            <a:pPr lvl="0"/>
            <a:r>
              <a:rPr lang="en-US"/>
              <a:t>Items are automatically numbered</a:t>
            </a:r>
          </a:p>
          <a:p>
            <a:pPr lvl="0"/>
            <a:r>
              <a:rPr lang="en-US"/>
              <a:t>If needed, use the Numbering button on the Home tab to turn off numbers.</a:t>
            </a:r>
          </a:p>
          <a:p>
            <a:pPr lvl="0"/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51B0AD-0CB2-A048-A80E-79B8AB9DC5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902A4BD-9D83-44B2-ACE3-88F0098F377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D9AF42-CC7A-4B9F-B211-4FF9B1A9EA7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26572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pos="5520">
          <p15:clr>
            <a:srgbClr val="FBAE40"/>
          </p15:clr>
        </p15:guide>
        <p15:guide id="22" pos="5736">
          <p15:clr>
            <a:srgbClr val="FBAE40"/>
          </p15:clr>
        </p15:guide>
      </p15:sldGuideLst>
    </p:ext>
  </p:extLs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Q&amp;A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87DB8ED-D300-5B41-58CD-45CD57E93D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444547"/>
            <a:ext cx="552780" cy="17910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A8ED303-7981-4902-ADA0-4A9C654E4133}"/>
              </a:ext>
            </a:extLst>
          </p:cNvPr>
          <p:cNvSpPr txBox="1"/>
          <p:nvPr userDrawn="1"/>
        </p:nvSpPr>
        <p:spPr>
          <a:xfrm>
            <a:off x="9472795" y="6539146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3 Visa. All rights reserved. Visa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2823FF-EE63-6AEB-B460-0BE456E742F9}"/>
              </a:ext>
            </a:extLst>
          </p:cNvPr>
          <p:cNvSpPr txBox="1"/>
          <p:nvPr userDrawn="1"/>
        </p:nvSpPr>
        <p:spPr>
          <a:xfrm>
            <a:off x="11546438" y="6539145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69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Quote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0C35452-CE92-4041-B1AB-4652EFF98AA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4098E59-0001-3BDC-E5B1-B4DBD71B90EB}"/>
              </a:ext>
            </a:extLst>
          </p:cNvPr>
          <p:cNvSpPr txBox="1"/>
          <p:nvPr userDrawn="1"/>
        </p:nvSpPr>
        <p:spPr>
          <a:xfrm>
            <a:off x="9472795" y="6539146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3 Visa. All rights reserved. Visa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1DE2451-52C9-ED50-D673-016B763BB75F}"/>
              </a:ext>
            </a:extLst>
          </p:cNvPr>
          <p:cNvSpPr txBox="1"/>
          <p:nvPr userDrawn="1"/>
        </p:nvSpPr>
        <p:spPr>
          <a:xfrm>
            <a:off x="11546438" y="6539145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8705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­ - Cut Out Photo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Background pattern, rectangle&#10;&#10;Description automatically generated">
            <a:extLst>
              <a:ext uri="{FF2B5EF4-FFF2-40B4-BE49-F238E27FC236}">
                <a16:creationId xmlns:a16="http://schemas.microsoft.com/office/drawing/2014/main" id="{E8930F7D-FC4C-B545-BF55-6C2F96ED1D7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1776" y="1610833"/>
            <a:ext cx="4163676" cy="2781331"/>
          </a:xfrm>
          <a:prstGeom prst="rect">
            <a:avLst/>
          </a:prstGeom>
        </p:spPr>
      </p:pic>
      <p:pic>
        <p:nvPicPr>
          <p:cNvPr id="22" name="Picture 21" descr="A person holding a phone&#10;&#10;Description automatically generated with medium confidence">
            <a:extLst>
              <a:ext uri="{FF2B5EF4-FFF2-40B4-BE49-F238E27FC236}">
                <a16:creationId xmlns:a16="http://schemas.microsoft.com/office/drawing/2014/main" id="{7CF29D7B-D274-A24D-9456-1D142F993F1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11528" y="734453"/>
            <a:ext cx="3702286" cy="6123547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A4B0D38C-5191-2A46-A65F-EB152D0EE1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10833"/>
            <a:ext cx="5486400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FAD9EF4-BFE4-544D-89ED-637CA0828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2647860"/>
            <a:ext cx="5486399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EF24CA7-7CB8-2447-9C3C-B88313F9FBC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3" y="385590"/>
            <a:ext cx="836212" cy="270932"/>
          </a:xfrm>
          <a:prstGeom prst="rect">
            <a:avLst/>
          </a:prstGeom>
        </p:spPr>
      </p:pic>
      <p:pic>
        <p:nvPicPr>
          <p:cNvPr id="23" name="Picture 22" descr="A picture containing person, dog&#10;&#10;Description automatically generated">
            <a:extLst>
              <a:ext uri="{FF2B5EF4-FFF2-40B4-BE49-F238E27FC236}">
                <a16:creationId xmlns:a16="http://schemas.microsoft.com/office/drawing/2014/main" id="{30F7D106-CE35-E242-B8C0-5B06D3A2CE6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7833" y="3909462"/>
            <a:ext cx="2726676" cy="278133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1094A0A-76A3-1B45-9EF1-EF4320A30CC7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F4E884-A953-F146-98F1-8B4C5B6833E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A3DEAE8-4A72-4BCE-B4E2-12326ADEF205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152216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4684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76EFEF-4B84-4297-84E3-6558A8A501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4746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76EFEF-4B84-4297-84E3-6558A8A50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0838D896-7B63-466B-9032-10DAC8EC8BC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059B729-C6AE-024A-A0B1-CCF305824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E35142D-D790-6240-9E1C-1A74471BC44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Rectangle 82">
            <a:extLst>
              <a:ext uri="{FF2B5EF4-FFF2-40B4-BE49-F238E27FC236}">
                <a16:creationId xmlns:a16="http://schemas.microsoft.com/office/drawing/2014/main" id="{71DBFB0C-1ECC-44C0-9D78-9FD9A29ABDF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26EFA58-F5F2-4D22-B97F-A621909A846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00D4965-A59C-4419-B021-F20B435A14DA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E5C892E-2395-4F12-B7A1-3909599CC6F8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35286532-C93D-42D4-B9F5-1EED06E5960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F685452E-A688-4E57-ADF4-2847F2FE836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3392360" cy="4610100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59F27582-FC77-4983-95ED-134BF12F3B28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02667" y="1600200"/>
            <a:ext cx="3392360" cy="4610100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E7E72C4-7C78-4FA3-959D-44443B6AFED1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8187267" y="1600200"/>
            <a:ext cx="3392360" cy="4610100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840994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ick W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640CA6D4-7D60-1C6F-9975-6333ACF9DF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815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640CA6D4-7D60-1C6F-9975-6333ACF9DF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>
            <a:extLst>
              <a:ext uri="{FF2B5EF4-FFF2-40B4-BE49-F238E27FC236}">
                <a16:creationId xmlns:a16="http://schemas.microsoft.com/office/drawing/2014/main" id="{64B5AF04-C2F9-3DD7-80A8-008D77A75579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D217381-E3DD-48E0-57F4-ECDADE961DF0}"/>
              </a:ext>
            </a:extLst>
          </p:cNvPr>
          <p:cNvCxnSpPr>
            <a:cxnSpLocks/>
          </p:cNvCxnSpPr>
          <p:nvPr userDrawn="1"/>
        </p:nvCxnSpPr>
        <p:spPr>
          <a:xfrm>
            <a:off x="720724" y="2863571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5BBFCEAA-CF87-FEFB-1492-CE90E3B91268}"/>
              </a:ext>
            </a:extLst>
          </p:cNvPr>
          <p:cNvSpPr/>
          <p:nvPr userDrawn="1"/>
        </p:nvSpPr>
        <p:spPr>
          <a:xfrm>
            <a:off x="2335771" y="2676284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C9CDCD4-826A-187A-0DB2-3DAF02EF16B2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4A44D3DD-C287-8133-A3A5-52AB76EE4D1B}"/>
              </a:ext>
            </a:extLst>
          </p:cNvPr>
          <p:cNvSpPr/>
          <p:nvPr userDrawn="1"/>
        </p:nvSpPr>
        <p:spPr>
          <a:xfrm>
            <a:off x="2803244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solidFill>
                  <a:srgbClr val="F7A105"/>
                </a:solidFill>
                <a:latin typeface="Visa Dialect Semibold" pitchFamily="2" charset="0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7A105"/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Strategic Priority 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rgbClr val="F7A10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9ABC5D4-A2EE-2EC0-8F3C-3D73E983E3D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EE52346-DB5D-ADCB-BEE3-435C59B33994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286A296-1DBA-6E78-452B-ED589C937F24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19" name="Picture 18" descr="Icon&#10;&#10;Description automatically generated">
              <a:extLst>
                <a:ext uri="{FF2B5EF4-FFF2-40B4-BE49-F238E27FC236}">
                  <a16:creationId xmlns:a16="http://schemas.microsoft.com/office/drawing/2014/main" id="{1140A1FD-4F4C-E8E7-87A1-9268782CB5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3F86C6F-1984-F1BB-C24F-D4D5BAE689C3}"/>
              </a:ext>
            </a:extLst>
          </p:cNvPr>
          <p:cNvGrpSpPr/>
          <p:nvPr userDrawn="1"/>
        </p:nvGrpSpPr>
        <p:grpSpPr>
          <a:xfrm>
            <a:off x="2440285" y="2733515"/>
            <a:ext cx="2626437" cy="228600"/>
            <a:chOff x="720798" y="3314700"/>
            <a:chExt cx="2626437" cy="228600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C76D2ACA-3366-0E9C-8886-A05ECE09CA67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4" name="Graphic 22" descr="Playbook outline">
              <a:extLst>
                <a:ext uri="{FF2B5EF4-FFF2-40B4-BE49-F238E27FC236}">
                  <a16:creationId xmlns:a16="http://schemas.microsoft.com/office/drawing/2014/main" id="{7FF5F233-A68C-CBAB-A2D8-F4ABE1AE9F43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83053EE-CBA7-63E9-BACC-5626CC95C69D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9EE629B-A4EA-FC97-6233-68AABAECA914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893259C5-7CF2-8583-4D1C-34A8D8F6BD86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12BC5E1C-DB03-1DEF-0848-5A3552FEB746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54A89CAE-46BC-75BA-1883-7453397D7F7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04649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  <p:sp>
        <p:nvSpPr>
          <p:cNvPr id="6" name="Text Placeholder 31">
            <a:extLst>
              <a:ext uri="{FF2B5EF4-FFF2-40B4-BE49-F238E27FC236}">
                <a16:creationId xmlns:a16="http://schemas.microsoft.com/office/drawing/2014/main" id="{A6CB45AE-81C3-295E-2617-40AEBCD612C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</p:spTree>
    <p:extLst>
      <p:ext uri="{BB962C8B-B14F-4D97-AF65-F5344CB8AC3E}">
        <p14:creationId xmlns:p14="http://schemas.microsoft.com/office/powerpoint/2010/main" val="1406609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E527502-AB0B-EA4C-93C1-E50D3BB46A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09600" y="1600201"/>
            <a:ext cx="34036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6B953B14-58B5-F64D-856E-665137C4F44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429455" y="1600201"/>
            <a:ext cx="3352801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D14F8D7C-7F6F-6143-9DE4-868B2E38A178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178797" y="1600201"/>
            <a:ext cx="3403603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472EF8D-56BE-AB48-A5F9-187114E95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5C8DF82-7F60-4849-A43B-8F4B9B5F0CA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CDCA026-D514-4D4B-AB98-08252DB87D8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09600" y="4911693"/>
            <a:ext cx="3423314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DF9BFF8-0532-EE45-9739-4B50F601F77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429245" y="4911693"/>
            <a:ext cx="3343155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82BB9B5-C539-B147-9A3E-C09EB047C38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91017" y="4911693"/>
            <a:ext cx="3403603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95D6732-2623-4CB4-8051-6CEEC811E46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94D2990-D9A0-4941-85AE-BF47A35045B1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485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ick Win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640CA6D4-7D60-1C6F-9975-6333ACF9DF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3274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640CA6D4-7D60-1C6F-9975-6333ACF9DF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solidFill>
                  <a:srgbClr val="F7A105"/>
                </a:solidFill>
                <a:latin typeface="Visa Dialect Semibold" pitchFamily="2" charset="0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7A105"/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Strategic Priority 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rgbClr val="F7A10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9ABC5D4-A2EE-2EC0-8F3C-3D73E983E3D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287259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ick W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640CA6D4-7D60-1C6F-9975-6333ACF9DF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815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640CA6D4-7D60-1C6F-9975-6333ACF9DF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>
            <a:extLst>
              <a:ext uri="{FF2B5EF4-FFF2-40B4-BE49-F238E27FC236}">
                <a16:creationId xmlns:a16="http://schemas.microsoft.com/office/drawing/2014/main" id="{64B5AF04-C2F9-3DD7-80A8-008D77A75579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D217381-E3DD-48E0-57F4-ECDADE961DF0}"/>
              </a:ext>
            </a:extLst>
          </p:cNvPr>
          <p:cNvCxnSpPr>
            <a:cxnSpLocks/>
          </p:cNvCxnSpPr>
          <p:nvPr userDrawn="1"/>
        </p:nvCxnSpPr>
        <p:spPr>
          <a:xfrm>
            <a:off x="720724" y="2963324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5BBFCEAA-CF87-FEFB-1492-CE90E3B91268}"/>
              </a:ext>
            </a:extLst>
          </p:cNvPr>
          <p:cNvSpPr/>
          <p:nvPr userDrawn="1"/>
        </p:nvSpPr>
        <p:spPr>
          <a:xfrm>
            <a:off x="2335771" y="2784350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C9CDCD4-826A-187A-0DB2-3DAF02EF16B2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4A44D3DD-C287-8133-A3A5-52AB76EE4D1B}"/>
              </a:ext>
            </a:extLst>
          </p:cNvPr>
          <p:cNvSpPr/>
          <p:nvPr userDrawn="1"/>
        </p:nvSpPr>
        <p:spPr>
          <a:xfrm>
            <a:off x="2784582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solidFill>
                  <a:srgbClr val="F7A105"/>
                </a:solidFill>
                <a:latin typeface="Visa Dialect Semibold" pitchFamily="2" charset="0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7A105"/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Strategic Priority 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rgbClr val="F7A10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9ABC5D4-A2EE-2EC0-8F3C-3D73E983E3D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EE52346-DB5D-ADCB-BEE3-435C59B33994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286A296-1DBA-6E78-452B-ED589C937F24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19" name="Picture 18" descr="Icon&#10;&#10;Description automatically generated">
              <a:extLst>
                <a:ext uri="{FF2B5EF4-FFF2-40B4-BE49-F238E27FC236}">
                  <a16:creationId xmlns:a16="http://schemas.microsoft.com/office/drawing/2014/main" id="{1140A1FD-4F4C-E8E7-87A1-9268782CB5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3F86C6F-1984-F1BB-C24F-D4D5BAE689C3}"/>
              </a:ext>
            </a:extLst>
          </p:cNvPr>
          <p:cNvGrpSpPr/>
          <p:nvPr userDrawn="1"/>
        </p:nvGrpSpPr>
        <p:grpSpPr>
          <a:xfrm>
            <a:off x="2440285" y="2833268"/>
            <a:ext cx="2626437" cy="228600"/>
            <a:chOff x="720798" y="3314700"/>
            <a:chExt cx="2626437" cy="228600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C76D2ACA-3366-0E9C-8886-A05ECE09CA67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4" name="Graphic 22" descr="Playbook outline">
              <a:extLst>
                <a:ext uri="{FF2B5EF4-FFF2-40B4-BE49-F238E27FC236}">
                  <a16:creationId xmlns:a16="http://schemas.microsoft.com/office/drawing/2014/main" id="{7FF5F233-A68C-CBAB-A2D8-F4ABE1AE9F43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83053EE-CBA7-63E9-BACC-5626CC95C69D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9EE629B-A4EA-FC97-6233-68AABAECA914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893259C5-7CF2-8583-4D1C-34A8D8F6BD86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12BC5E1C-DB03-1DEF-0848-5A3552FEB746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54A89CAE-46BC-75BA-1883-7453397D7F7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146250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  <p:sp>
        <p:nvSpPr>
          <p:cNvPr id="6" name="Text Placeholder 31">
            <a:extLst>
              <a:ext uri="{FF2B5EF4-FFF2-40B4-BE49-F238E27FC236}">
                <a16:creationId xmlns:a16="http://schemas.microsoft.com/office/drawing/2014/main" id="{A6CB45AE-81C3-295E-2617-40AEBCD612C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</p:spTree>
    <p:extLst>
      <p:ext uri="{BB962C8B-B14F-4D97-AF65-F5344CB8AC3E}">
        <p14:creationId xmlns:p14="http://schemas.microsoft.com/office/powerpoint/2010/main" val="1737706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Quick W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640CA6D4-7D60-1C6F-9975-6333ACF9DF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815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640CA6D4-7D60-1C6F-9975-6333ACF9DF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>
            <a:extLst>
              <a:ext uri="{FF2B5EF4-FFF2-40B4-BE49-F238E27FC236}">
                <a16:creationId xmlns:a16="http://schemas.microsoft.com/office/drawing/2014/main" id="{64B5AF04-C2F9-3DD7-80A8-008D77A75579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D217381-E3DD-48E0-57F4-ECDADE961DF0}"/>
              </a:ext>
            </a:extLst>
          </p:cNvPr>
          <p:cNvCxnSpPr>
            <a:cxnSpLocks/>
          </p:cNvCxnSpPr>
          <p:nvPr userDrawn="1"/>
        </p:nvCxnSpPr>
        <p:spPr>
          <a:xfrm>
            <a:off x="720724" y="3054765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5BBFCEAA-CF87-FEFB-1492-CE90E3B91268}"/>
              </a:ext>
            </a:extLst>
          </p:cNvPr>
          <p:cNvSpPr/>
          <p:nvPr userDrawn="1"/>
        </p:nvSpPr>
        <p:spPr>
          <a:xfrm>
            <a:off x="2335771" y="2784350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C9CDCD4-826A-187A-0DB2-3DAF02EF16B2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4A44D3DD-C287-8133-A3A5-52AB76EE4D1B}"/>
              </a:ext>
            </a:extLst>
          </p:cNvPr>
          <p:cNvSpPr/>
          <p:nvPr userDrawn="1"/>
        </p:nvSpPr>
        <p:spPr>
          <a:xfrm>
            <a:off x="2784582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solidFill>
                  <a:srgbClr val="F7A105"/>
                </a:solidFill>
                <a:latin typeface="Visa Dialect Semibold" pitchFamily="2" charset="0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7A105"/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Strategic Priority 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rgbClr val="F7A10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9ABC5D4-A2EE-2EC0-8F3C-3D73E983E3D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EE52346-DB5D-ADCB-BEE3-435C59B33994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286A296-1DBA-6E78-452B-ED589C937F24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19" name="Picture 18" descr="Icon&#10;&#10;Description automatically generated">
              <a:extLst>
                <a:ext uri="{FF2B5EF4-FFF2-40B4-BE49-F238E27FC236}">
                  <a16:creationId xmlns:a16="http://schemas.microsoft.com/office/drawing/2014/main" id="{1140A1FD-4F4C-E8E7-87A1-9268782CB5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3F86C6F-1984-F1BB-C24F-D4D5BAE689C3}"/>
              </a:ext>
            </a:extLst>
          </p:cNvPr>
          <p:cNvGrpSpPr/>
          <p:nvPr userDrawn="1"/>
        </p:nvGrpSpPr>
        <p:grpSpPr>
          <a:xfrm>
            <a:off x="2440285" y="2924709"/>
            <a:ext cx="2626437" cy="228600"/>
            <a:chOff x="720798" y="3314700"/>
            <a:chExt cx="2626437" cy="228600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C76D2ACA-3366-0E9C-8886-A05ECE09CA67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4" name="Graphic 22" descr="Playbook outline">
              <a:extLst>
                <a:ext uri="{FF2B5EF4-FFF2-40B4-BE49-F238E27FC236}">
                  <a16:creationId xmlns:a16="http://schemas.microsoft.com/office/drawing/2014/main" id="{7FF5F233-A68C-CBAB-A2D8-F4ABE1AE9F43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83053EE-CBA7-63E9-BACC-5626CC95C69D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9EE629B-A4EA-FC97-6233-68AABAECA914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893259C5-7CF2-8583-4D1C-34A8D8F6BD86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12BC5E1C-DB03-1DEF-0848-5A3552FEB746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54A89CAE-46BC-75BA-1883-7453397D7F7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237691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  <p:sp>
        <p:nvSpPr>
          <p:cNvPr id="6" name="Text Placeholder 31">
            <a:extLst>
              <a:ext uri="{FF2B5EF4-FFF2-40B4-BE49-F238E27FC236}">
                <a16:creationId xmlns:a16="http://schemas.microsoft.com/office/drawing/2014/main" id="{A6CB45AE-81C3-295E-2617-40AEBCD612C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</p:spTree>
    <p:extLst>
      <p:ext uri="{BB962C8B-B14F-4D97-AF65-F5344CB8AC3E}">
        <p14:creationId xmlns:p14="http://schemas.microsoft.com/office/powerpoint/2010/main" val="2031222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Quick W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640CA6D4-7D60-1C6F-9975-6333ACF9DF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0248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640CA6D4-7D60-1C6F-9975-6333ACF9DF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D217381-E3DD-48E0-57F4-ECDADE961DF0}"/>
              </a:ext>
            </a:extLst>
          </p:cNvPr>
          <p:cNvCxnSpPr>
            <a:cxnSpLocks/>
          </p:cNvCxnSpPr>
          <p:nvPr userDrawn="1"/>
        </p:nvCxnSpPr>
        <p:spPr>
          <a:xfrm>
            <a:off x="720724" y="3412211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64B5AF04-C2F9-3DD7-80A8-008D77A75579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BBFCEAA-CF87-FEFB-1492-CE90E3B91268}"/>
              </a:ext>
            </a:extLst>
          </p:cNvPr>
          <p:cNvSpPr/>
          <p:nvPr userDrawn="1"/>
        </p:nvSpPr>
        <p:spPr>
          <a:xfrm>
            <a:off x="2335771" y="3266488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C9CDCD4-826A-187A-0DB2-3DAF02EF16B2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4A44D3DD-C287-8133-A3A5-52AB76EE4D1B}"/>
              </a:ext>
            </a:extLst>
          </p:cNvPr>
          <p:cNvSpPr/>
          <p:nvPr userDrawn="1"/>
        </p:nvSpPr>
        <p:spPr>
          <a:xfrm>
            <a:off x="2784582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solidFill>
                  <a:srgbClr val="F7A105"/>
                </a:solidFill>
                <a:latin typeface="Visa Dialect Semibold" pitchFamily="2" charset="0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7A105"/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Strategic Priority 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rgbClr val="F7A10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9ABC5D4-A2EE-2EC0-8F3C-3D73E983E3D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EE52346-DB5D-ADCB-BEE3-435C59B33994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286A296-1DBA-6E78-452B-ED589C937F24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19" name="Picture 18" descr="Icon&#10;&#10;Description automatically generated">
              <a:extLst>
                <a:ext uri="{FF2B5EF4-FFF2-40B4-BE49-F238E27FC236}">
                  <a16:creationId xmlns:a16="http://schemas.microsoft.com/office/drawing/2014/main" id="{1140A1FD-4F4C-E8E7-87A1-9268782CB5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54A89CAE-46BC-75BA-1883-7453397D7F7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636701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  <p:sp>
        <p:nvSpPr>
          <p:cNvPr id="6" name="Text Placeholder 31">
            <a:extLst>
              <a:ext uri="{FF2B5EF4-FFF2-40B4-BE49-F238E27FC236}">
                <a16:creationId xmlns:a16="http://schemas.microsoft.com/office/drawing/2014/main" id="{A6CB45AE-81C3-295E-2617-40AEBCD612C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A7376B0-A95D-A2AB-ED24-1F541B1DF3EF}"/>
              </a:ext>
            </a:extLst>
          </p:cNvPr>
          <p:cNvSpPr/>
          <p:nvPr userDrawn="1"/>
        </p:nvSpPr>
        <p:spPr>
          <a:xfrm>
            <a:off x="2335771" y="3255291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7587B05-3668-9773-6572-527A9A3836C9}"/>
              </a:ext>
            </a:extLst>
          </p:cNvPr>
          <p:cNvGrpSpPr/>
          <p:nvPr userDrawn="1"/>
        </p:nvGrpSpPr>
        <p:grpSpPr>
          <a:xfrm>
            <a:off x="2440285" y="3312522"/>
            <a:ext cx="2626437" cy="228600"/>
            <a:chOff x="720798" y="3314700"/>
            <a:chExt cx="2626437" cy="228600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F629CB17-9D22-1197-04FD-8DED749E60D5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42" name="Graphic 22" descr="Playbook outline">
              <a:extLst>
                <a:ext uri="{FF2B5EF4-FFF2-40B4-BE49-F238E27FC236}">
                  <a16:creationId xmlns:a16="http://schemas.microsoft.com/office/drawing/2014/main" id="{655A5839-5FDF-9DA2-2305-7DAAAAD3AF4A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25EF7F58-85B5-0872-1070-E7F7AB445835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ED6ED2C1-38F6-9726-227D-A358F6A0E322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897A9F35-65F3-06AD-18F7-672A8EB06E2C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50959CF0-9AE3-5C79-3426-838286FEE34D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4845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rategic Prior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299FF3B8-9DD0-A4EA-4362-2E2617D545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7915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299FF3B8-9DD0-A4EA-4362-2E2617D545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99C44EF8-0492-9847-9E9A-9278110E051F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</a:t>
            </a:r>
            <a:r>
              <a:rPr lang="en-US" sz="1000" kern="1200" noProof="0">
                <a:solidFill>
                  <a:schemeClr val="accent2"/>
                </a:solidFill>
                <a:latin typeface="Visa Dialect Semibold" pitchFamily="2" charset="0"/>
                <a:ea typeface="+mn-ea"/>
                <a:cs typeface="+mn-cs"/>
              </a:rPr>
              <a:t>Strategic Priority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5512F029-8B6B-B265-2498-74B8A286E11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BD560A4-A43F-D6C2-412E-69DB5F304ADC}"/>
              </a:ext>
            </a:extLst>
          </p:cNvPr>
          <p:cNvCxnSpPr>
            <a:cxnSpLocks/>
          </p:cNvCxnSpPr>
          <p:nvPr userDrawn="1"/>
        </p:nvCxnSpPr>
        <p:spPr>
          <a:xfrm>
            <a:off x="720724" y="3453775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5AAB0947-95D2-91E4-7D78-09DB59B2DEBC}"/>
              </a:ext>
            </a:extLst>
          </p:cNvPr>
          <p:cNvSpPr/>
          <p:nvPr userDrawn="1"/>
        </p:nvSpPr>
        <p:spPr>
          <a:xfrm>
            <a:off x="2335771" y="3266488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6D7641-6154-86F4-A327-29637533DB57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6E367C4F-70EC-BDE9-C5AE-B9B11182E658}"/>
              </a:ext>
            </a:extLst>
          </p:cNvPr>
          <p:cNvSpPr/>
          <p:nvPr userDrawn="1"/>
        </p:nvSpPr>
        <p:spPr>
          <a:xfrm>
            <a:off x="2784582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DDBCA95-4CE6-5F1B-53B5-D893E10B84BC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1081CE7-7E75-EA00-68A7-0C54ED1FF55C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25" name="Picture 24" descr="Icon&#10;&#10;Description automatically generated">
              <a:extLst>
                <a:ext uri="{FF2B5EF4-FFF2-40B4-BE49-F238E27FC236}">
                  <a16:creationId xmlns:a16="http://schemas.microsoft.com/office/drawing/2014/main" id="{0BA9ABA6-7CB6-CA38-69DC-2546A6AB3B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F1CA976-9F81-6668-F4D9-322EEFF3DB11}"/>
              </a:ext>
            </a:extLst>
          </p:cNvPr>
          <p:cNvGrpSpPr/>
          <p:nvPr userDrawn="1"/>
        </p:nvGrpSpPr>
        <p:grpSpPr>
          <a:xfrm>
            <a:off x="2440285" y="3323719"/>
            <a:ext cx="2626437" cy="228600"/>
            <a:chOff x="720798" y="3314700"/>
            <a:chExt cx="2626437" cy="22860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6C6ED41-066B-E55F-C952-AAC8D82E2157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8" name="Graphic 22" descr="Playbook outline">
              <a:extLst>
                <a:ext uri="{FF2B5EF4-FFF2-40B4-BE49-F238E27FC236}">
                  <a16:creationId xmlns:a16="http://schemas.microsoft.com/office/drawing/2014/main" id="{5BBCE1FA-EEAD-24C7-2DF1-5FE0669BDE76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0279A02F-99C8-CD64-1295-7B2F48DFCBD8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81B25826-52E0-D5DE-3AFC-AC9D87403E3E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EA16AD64-CABD-8EE9-EDC3-5E6459498A1D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C4B0231A-BFD2-5301-5468-6572A959FBFE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8889CBED-D29E-2F6D-0012-F7983F23C7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72C35BD8-DD3E-035D-F507-71FB2515613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636701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</p:spTree>
    <p:extLst>
      <p:ext uri="{BB962C8B-B14F-4D97-AF65-F5344CB8AC3E}">
        <p14:creationId xmlns:p14="http://schemas.microsoft.com/office/powerpoint/2010/main" val="4217451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rategic Prior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299FF3B8-9DD0-A4EA-4362-2E2617D545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7915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299FF3B8-9DD0-A4EA-4362-2E2617D545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99C44EF8-0492-9847-9E9A-9278110E051F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</a:t>
            </a:r>
            <a:r>
              <a:rPr lang="en-US" sz="1000" kern="1200" noProof="0">
                <a:solidFill>
                  <a:schemeClr val="accent2"/>
                </a:solidFill>
                <a:latin typeface="Visa Dialect Semibold" pitchFamily="2" charset="0"/>
                <a:ea typeface="+mn-ea"/>
                <a:cs typeface="+mn-cs"/>
              </a:rPr>
              <a:t>Strategic Priority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5512F029-8B6B-B265-2498-74B8A286E11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BD560A4-A43F-D6C2-412E-69DB5F304ADC}"/>
              </a:ext>
            </a:extLst>
          </p:cNvPr>
          <p:cNvCxnSpPr>
            <a:cxnSpLocks/>
          </p:cNvCxnSpPr>
          <p:nvPr userDrawn="1"/>
        </p:nvCxnSpPr>
        <p:spPr>
          <a:xfrm>
            <a:off x="720724" y="3192520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5AAB0947-95D2-91E4-7D78-09DB59B2DEBC}"/>
              </a:ext>
            </a:extLst>
          </p:cNvPr>
          <p:cNvSpPr/>
          <p:nvPr userDrawn="1"/>
        </p:nvSpPr>
        <p:spPr>
          <a:xfrm>
            <a:off x="2335771" y="3005233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6D7641-6154-86F4-A327-29637533DB57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6E367C4F-70EC-BDE9-C5AE-B9B11182E658}"/>
              </a:ext>
            </a:extLst>
          </p:cNvPr>
          <p:cNvSpPr/>
          <p:nvPr userDrawn="1"/>
        </p:nvSpPr>
        <p:spPr>
          <a:xfrm>
            <a:off x="2784582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DDBCA95-4CE6-5F1B-53B5-D893E10B84BC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1081CE7-7E75-EA00-68A7-0C54ED1FF55C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25" name="Picture 24" descr="Icon&#10;&#10;Description automatically generated">
              <a:extLst>
                <a:ext uri="{FF2B5EF4-FFF2-40B4-BE49-F238E27FC236}">
                  <a16:creationId xmlns:a16="http://schemas.microsoft.com/office/drawing/2014/main" id="{0BA9ABA6-7CB6-CA38-69DC-2546A6AB3B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F1CA976-9F81-6668-F4D9-322EEFF3DB11}"/>
              </a:ext>
            </a:extLst>
          </p:cNvPr>
          <p:cNvGrpSpPr/>
          <p:nvPr userDrawn="1"/>
        </p:nvGrpSpPr>
        <p:grpSpPr>
          <a:xfrm>
            <a:off x="2440285" y="3062464"/>
            <a:ext cx="2626437" cy="228600"/>
            <a:chOff x="720798" y="3314700"/>
            <a:chExt cx="2626437" cy="22860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6C6ED41-066B-E55F-C952-AAC8D82E2157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8" name="Graphic 22" descr="Playbook outline">
              <a:extLst>
                <a:ext uri="{FF2B5EF4-FFF2-40B4-BE49-F238E27FC236}">
                  <a16:creationId xmlns:a16="http://schemas.microsoft.com/office/drawing/2014/main" id="{5BBCE1FA-EEAD-24C7-2DF1-5FE0669BDE76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0279A02F-99C8-CD64-1295-7B2F48DFCBD8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81B25826-52E0-D5DE-3AFC-AC9D87403E3E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EA16AD64-CABD-8EE9-EDC3-5E6459498A1D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C4B0231A-BFD2-5301-5468-6572A959FBFE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8889CBED-D29E-2F6D-0012-F7983F23C7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72C35BD8-DD3E-035D-F507-71FB2515613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375446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</p:spTree>
    <p:extLst>
      <p:ext uri="{BB962C8B-B14F-4D97-AF65-F5344CB8AC3E}">
        <p14:creationId xmlns:p14="http://schemas.microsoft.com/office/powerpoint/2010/main" val="2970967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rategic Priority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299FF3B8-9DD0-A4EA-4362-2E2617D545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8441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299FF3B8-9DD0-A4EA-4362-2E2617D545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</a:t>
            </a:r>
            <a:r>
              <a:rPr lang="en-US" sz="1000" kern="1200" noProof="0">
                <a:solidFill>
                  <a:schemeClr val="accent2"/>
                </a:solidFill>
                <a:latin typeface="Visa Dialect Semibold" pitchFamily="2" charset="0"/>
                <a:ea typeface="+mn-ea"/>
                <a:cs typeface="+mn-cs"/>
              </a:rPr>
              <a:t>Strategic Priority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5512F029-8B6B-B265-2498-74B8A286E11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621676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rategic Prior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299FF3B8-9DD0-A4EA-4362-2E2617D545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7915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299FF3B8-9DD0-A4EA-4362-2E2617D545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99C44EF8-0492-9847-9E9A-9278110E051F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</a:t>
            </a:r>
            <a:r>
              <a:rPr lang="en-US" sz="1000" kern="1200" noProof="0">
                <a:solidFill>
                  <a:schemeClr val="accent2"/>
                </a:solidFill>
                <a:latin typeface="Visa Dialect Semibold" pitchFamily="2" charset="0"/>
                <a:ea typeface="+mn-ea"/>
                <a:cs typeface="+mn-cs"/>
              </a:rPr>
              <a:t>Strategic Priority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5512F029-8B6B-B265-2498-74B8A286E11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BD560A4-A43F-D6C2-412E-69DB5F304ADC}"/>
              </a:ext>
            </a:extLst>
          </p:cNvPr>
          <p:cNvCxnSpPr>
            <a:cxnSpLocks/>
          </p:cNvCxnSpPr>
          <p:nvPr userDrawn="1"/>
        </p:nvCxnSpPr>
        <p:spPr>
          <a:xfrm>
            <a:off x="720724" y="3254274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5AAB0947-95D2-91E4-7D78-09DB59B2DEBC}"/>
              </a:ext>
            </a:extLst>
          </p:cNvPr>
          <p:cNvSpPr/>
          <p:nvPr userDrawn="1"/>
        </p:nvSpPr>
        <p:spPr>
          <a:xfrm>
            <a:off x="2335771" y="3066987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6D7641-6154-86F4-A327-29637533DB57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6E367C4F-70EC-BDE9-C5AE-B9B11182E658}"/>
              </a:ext>
            </a:extLst>
          </p:cNvPr>
          <p:cNvSpPr/>
          <p:nvPr userDrawn="1"/>
        </p:nvSpPr>
        <p:spPr>
          <a:xfrm>
            <a:off x="2784582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DDBCA95-4CE6-5F1B-53B5-D893E10B84BC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1081CE7-7E75-EA00-68A7-0C54ED1FF55C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25" name="Picture 24" descr="Icon&#10;&#10;Description automatically generated">
              <a:extLst>
                <a:ext uri="{FF2B5EF4-FFF2-40B4-BE49-F238E27FC236}">
                  <a16:creationId xmlns:a16="http://schemas.microsoft.com/office/drawing/2014/main" id="{0BA9ABA6-7CB6-CA38-69DC-2546A6AB3B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F1CA976-9F81-6668-F4D9-322EEFF3DB11}"/>
              </a:ext>
            </a:extLst>
          </p:cNvPr>
          <p:cNvGrpSpPr/>
          <p:nvPr userDrawn="1"/>
        </p:nvGrpSpPr>
        <p:grpSpPr>
          <a:xfrm>
            <a:off x="2440285" y="3124218"/>
            <a:ext cx="2626437" cy="228600"/>
            <a:chOff x="720798" y="3314700"/>
            <a:chExt cx="2626437" cy="22860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6C6ED41-066B-E55F-C952-AAC8D82E2157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8" name="Graphic 22" descr="Playbook outline">
              <a:extLst>
                <a:ext uri="{FF2B5EF4-FFF2-40B4-BE49-F238E27FC236}">
                  <a16:creationId xmlns:a16="http://schemas.microsoft.com/office/drawing/2014/main" id="{5BBCE1FA-EEAD-24C7-2DF1-5FE0669BDE76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0279A02F-99C8-CD64-1295-7B2F48DFCBD8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81B25826-52E0-D5DE-3AFC-AC9D87403E3E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EA16AD64-CABD-8EE9-EDC3-5E6459498A1D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C4B0231A-BFD2-5301-5468-6572A959FBFE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8889CBED-D29E-2F6D-0012-F7983F23C7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72C35BD8-DD3E-035D-F507-71FB2515613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212749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</p:spTree>
    <p:extLst>
      <p:ext uri="{BB962C8B-B14F-4D97-AF65-F5344CB8AC3E}">
        <p14:creationId xmlns:p14="http://schemas.microsoft.com/office/powerpoint/2010/main" val="3111709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rategic Prior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299FF3B8-9DD0-A4EA-4362-2E2617D545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7915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299FF3B8-9DD0-A4EA-4362-2E2617D545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99C44EF8-0492-9847-9E9A-9278110E051F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</a:t>
            </a:r>
            <a:r>
              <a:rPr lang="en-US" sz="1000" kern="1200" noProof="0">
                <a:solidFill>
                  <a:schemeClr val="accent2"/>
                </a:solidFill>
                <a:latin typeface="Visa Dialect Semibold" pitchFamily="2" charset="0"/>
                <a:ea typeface="+mn-ea"/>
                <a:cs typeface="+mn-cs"/>
              </a:rPr>
              <a:t>Strategic Priority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5512F029-8B6B-B265-2498-74B8A286E11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BD560A4-A43F-D6C2-412E-69DB5F304ADC}"/>
              </a:ext>
            </a:extLst>
          </p:cNvPr>
          <p:cNvCxnSpPr>
            <a:cxnSpLocks/>
          </p:cNvCxnSpPr>
          <p:nvPr userDrawn="1"/>
        </p:nvCxnSpPr>
        <p:spPr>
          <a:xfrm>
            <a:off x="720724" y="3196083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5AAB0947-95D2-91E4-7D78-09DB59B2DEBC}"/>
              </a:ext>
            </a:extLst>
          </p:cNvPr>
          <p:cNvSpPr/>
          <p:nvPr userDrawn="1"/>
        </p:nvSpPr>
        <p:spPr>
          <a:xfrm>
            <a:off x="2335771" y="3008796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6D7641-6154-86F4-A327-29637533DB57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6E367C4F-70EC-BDE9-C5AE-B9B11182E658}"/>
              </a:ext>
            </a:extLst>
          </p:cNvPr>
          <p:cNvSpPr/>
          <p:nvPr userDrawn="1"/>
        </p:nvSpPr>
        <p:spPr>
          <a:xfrm>
            <a:off x="2784582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DDBCA95-4CE6-5F1B-53B5-D893E10B84BC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1081CE7-7E75-EA00-68A7-0C54ED1FF55C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25" name="Picture 24" descr="Icon&#10;&#10;Description automatically generated">
              <a:extLst>
                <a:ext uri="{FF2B5EF4-FFF2-40B4-BE49-F238E27FC236}">
                  <a16:creationId xmlns:a16="http://schemas.microsoft.com/office/drawing/2014/main" id="{0BA9ABA6-7CB6-CA38-69DC-2546A6AB3B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F1CA976-9F81-6668-F4D9-322EEFF3DB11}"/>
              </a:ext>
            </a:extLst>
          </p:cNvPr>
          <p:cNvGrpSpPr/>
          <p:nvPr userDrawn="1"/>
        </p:nvGrpSpPr>
        <p:grpSpPr>
          <a:xfrm>
            <a:off x="2440285" y="3066027"/>
            <a:ext cx="2626437" cy="228600"/>
            <a:chOff x="720798" y="3314700"/>
            <a:chExt cx="2626437" cy="22860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6C6ED41-066B-E55F-C952-AAC8D82E2157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8" name="Graphic 22" descr="Playbook outline">
              <a:extLst>
                <a:ext uri="{FF2B5EF4-FFF2-40B4-BE49-F238E27FC236}">
                  <a16:creationId xmlns:a16="http://schemas.microsoft.com/office/drawing/2014/main" id="{5BBCE1FA-EEAD-24C7-2DF1-5FE0669BDE76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0279A02F-99C8-CD64-1295-7B2F48DFCBD8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81B25826-52E0-D5DE-3AFC-AC9D87403E3E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EA16AD64-CABD-8EE9-EDC3-5E6459498A1D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C4B0231A-BFD2-5301-5468-6572A959FBFE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8889CBED-D29E-2F6D-0012-F7983F23C7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72C35BD8-DD3E-035D-F507-71FB2515613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312505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</p:spTree>
    <p:extLst>
      <p:ext uri="{BB962C8B-B14F-4D97-AF65-F5344CB8AC3E}">
        <p14:creationId xmlns:p14="http://schemas.microsoft.com/office/powerpoint/2010/main" val="2630067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ture Conside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884460-2E6B-57C3-4A1A-3DD2267770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588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884460-2E6B-57C3-4A1A-3DD2267770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Strategic Priority / </a:t>
            </a:r>
            <a:r>
              <a:rPr lang="en-US" sz="1000" kern="1200" noProof="0">
                <a:solidFill>
                  <a:schemeClr val="accent3"/>
                </a:solidFill>
                <a:latin typeface="Visa Dialect Semibold" pitchFamily="2" charset="0"/>
                <a:ea typeface="+mn-ea"/>
                <a:cs typeface="+mn-cs"/>
              </a:rPr>
              <a:t>Future Consideration</a:t>
            </a: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66799D28-B391-06B3-D24A-6F510AD8478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113CD8B-B9CB-A647-F5BB-07FF390B2766}"/>
              </a:ext>
            </a:extLst>
          </p:cNvPr>
          <p:cNvCxnSpPr>
            <a:cxnSpLocks/>
          </p:cNvCxnSpPr>
          <p:nvPr userDrawn="1"/>
        </p:nvCxnSpPr>
        <p:spPr>
          <a:xfrm>
            <a:off x="720724" y="3649726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AC810204-7F21-219F-A718-3F5E41C955E6}"/>
              </a:ext>
            </a:extLst>
          </p:cNvPr>
          <p:cNvSpPr/>
          <p:nvPr userDrawn="1"/>
        </p:nvSpPr>
        <p:spPr>
          <a:xfrm>
            <a:off x="2335771" y="3462439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5986F40-8CE1-90D2-BED2-A6BF956C43A4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866DC150-E05C-93F4-918D-A6AE2567153F}"/>
              </a:ext>
            </a:extLst>
          </p:cNvPr>
          <p:cNvSpPr/>
          <p:nvPr userDrawn="1"/>
        </p:nvSpPr>
        <p:spPr>
          <a:xfrm>
            <a:off x="2784582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18FBD77-D606-2FC1-8CED-AB0B04EF1DBC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7C0BC4E-3361-AF5F-6C03-971CF1F82753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25" name="Picture 24" descr="Icon&#10;&#10;Description automatically generated">
              <a:extLst>
                <a:ext uri="{FF2B5EF4-FFF2-40B4-BE49-F238E27FC236}">
                  <a16:creationId xmlns:a16="http://schemas.microsoft.com/office/drawing/2014/main" id="{32EE242C-CF4C-0ECF-B105-D50BF44DC1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ED1BFFB-F857-5AA5-2B81-580A3155A2F4}"/>
              </a:ext>
            </a:extLst>
          </p:cNvPr>
          <p:cNvGrpSpPr/>
          <p:nvPr userDrawn="1"/>
        </p:nvGrpSpPr>
        <p:grpSpPr>
          <a:xfrm>
            <a:off x="2440285" y="3519670"/>
            <a:ext cx="2626437" cy="228600"/>
            <a:chOff x="720798" y="3314700"/>
            <a:chExt cx="2626437" cy="22860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90D9B5D-C78A-1801-8DB3-401B1AAC6CEC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8" name="Graphic 22" descr="Playbook outline">
              <a:extLst>
                <a:ext uri="{FF2B5EF4-FFF2-40B4-BE49-F238E27FC236}">
                  <a16:creationId xmlns:a16="http://schemas.microsoft.com/office/drawing/2014/main" id="{A4415860-A8EF-5BA8-AC0D-81672DCE9121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5C60D95E-F279-F0E1-4D16-630F9FC1A11D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74A44CC0-97ED-007E-0377-F5D2BFF84AA1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47CA920-AE44-2098-0F05-76BC5FB66769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08BF310E-271C-0DE3-A5C6-92DA32031ADB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2541B3C5-0601-6653-1358-0EE6F33E407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832652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81E2DF2-310A-B859-1CD2-BE081AF76B85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31">
            <a:extLst>
              <a:ext uri="{FF2B5EF4-FFF2-40B4-BE49-F238E27FC236}">
                <a16:creationId xmlns:a16="http://schemas.microsoft.com/office/drawing/2014/main" id="{5DEB308E-52E9-65FB-39A2-3E53FD6A68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</p:spTree>
    <p:extLst>
      <p:ext uri="{BB962C8B-B14F-4D97-AF65-F5344CB8AC3E}">
        <p14:creationId xmlns:p14="http://schemas.microsoft.com/office/powerpoint/2010/main" val="3689122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Tw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56BCCFD-B912-2F49-AE52-7814FFDCB534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832065A-C6D7-614D-A733-535BCA5ADF1B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8"/>
            <a:ext cx="5334000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7C7B404-7F93-AD4C-BE41-E5247D351B57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248399" y="471458"/>
            <a:ext cx="5334001" cy="273196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A5108AEE-9096-4643-8AFA-8EFF143BF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7962758-65CF-1D46-ADE8-60345727EDE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AC0383B-4DFE-41B8-9E86-224BAA4F75E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425784D-75B2-452E-A835-A761758F810A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636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uture Conside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884460-2E6B-57C3-4A1A-3DD2267770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588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884460-2E6B-57C3-4A1A-3DD2267770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Strategic Priority / </a:t>
            </a:r>
            <a:r>
              <a:rPr lang="en-US" sz="1000" kern="1200" noProof="0">
                <a:solidFill>
                  <a:schemeClr val="accent3"/>
                </a:solidFill>
                <a:latin typeface="Visa Dialect Semibold" pitchFamily="2" charset="0"/>
                <a:ea typeface="+mn-ea"/>
                <a:cs typeface="+mn-cs"/>
              </a:rPr>
              <a:t>Future Consideration</a:t>
            </a: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66799D28-B391-06B3-D24A-6F510AD8478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113CD8B-B9CB-A647-F5BB-07FF390B2766}"/>
              </a:ext>
            </a:extLst>
          </p:cNvPr>
          <p:cNvCxnSpPr>
            <a:cxnSpLocks/>
          </p:cNvCxnSpPr>
          <p:nvPr userDrawn="1"/>
        </p:nvCxnSpPr>
        <p:spPr>
          <a:xfrm>
            <a:off x="720724" y="3109399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AC810204-7F21-219F-A718-3F5E41C955E6}"/>
              </a:ext>
            </a:extLst>
          </p:cNvPr>
          <p:cNvSpPr/>
          <p:nvPr userDrawn="1"/>
        </p:nvSpPr>
        <p:spPr>
          <a:xfrm>
            <a:off x="2335771" y="2922112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5986F40-8CE1-90D2-BED2-A6BF956C43A4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866DC150-E05C-93F4-918D-A6AE2567153F}"/>
              </a:ext>
            </a:extLst>
          </p:cNvPr>
          <p:cNvSpPr/>
          <p:nvPr userDrawn="1"/>
        </p:nvSpPr>
        <p:spPr>
          <a:xfrm>
            <a:off x="2784582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18FBD77-D606-2FC1-8CED-AB0B04EF1DBC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7C0BC4E-3361-AF5F-6C03-971CF1F82753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25" name="Picture 24" descr="Icon&#10;&#10;Description automatically generated">
              <a:extLst>
                <a:ext uri="{FF2B5EF4-FFF2-40B4-BE49-F238E27FC236}">
                  <a16:creationId xmlns:a16="http://schemas.microsoft.com/office/drawing/2014/main" id="{32EE242C-CF4C-0ECF-B105-D50BF44DC1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ED1BFFB-F857-5AA5-2B81-580A3155A2F4}"/>
              </a:ext>
            </a:extLst>
          </p:cNvPr>
          <p:cNvGrpSpPr/>
          <p:nvPr userDrawn="1"/>
        </p:nvGrpSpPr>
        <p:grpSpPr>
          <a:xfrm>
            <a:off x="2440285" y="2979343"/>
            <a:ext cx="2626437" cy="228600"/>
            <a:chOff x="720798" y="3314700"/>
            <a:chExt cx="2626437" cy="22860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90D9B5D-C78A-1801-8DB3-401B1AAC6CEC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8" name="Graphic 22" descr="Playbook outline">
              <a:extLst>
                <a:ext uri="{FF2B5EF4-FFF2-40B4-BE49-F238E27FC236}">
                  <a16:creationId xmlns:a16="http://schemas.microsoft.com/office/drawing/2014/main" id="{A4415860-A8EF-5BA8-AC0D-81672DCE9121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5C60D95E-F279-F0E1-4D16-630F9FC1A11D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74A44CC0-97ED-007E-0377-F5D2BFF84AA1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47CA920-AE44-2098-0F05-76BC5FB66769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08BF310E-271C-0DE3-A5C6-92DA32031ADB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2541B3C5-0601-6653-1358-0EE6F33E407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832652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81E2DF2-310A-B859-1CD2-BE081AF76B85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31">
            <a:extLst>
              <a:ext uri="{FF2B5EF4-FFF2-40B4-BE49-F238E27FC236}">
                <a16:creationId xmlns:a16="http://schemas.microsoft.com/office/drawing/2014/main" id="{5DEB308E-52E9-65FB-39A2-3E53FD6A68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</p:spTree>
    <p:extLst>
      <p:ext uri="{BB962C8B-B14F-4D97-AF65-F5344CB8AC3E}">
        <p14:creationId xmlns:p14="http://schemas.microsoft.com/office/powerpoint/2010/main" val="2832805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ture Conside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884460-2E6B-57C3-4A1A-3DD2267770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588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884460-2E6B-57C3-4A1A-3DD2267770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113CD8B-B9CB-A647-F5BB-07FF390B2766}"/>
              </a:ext>
            </a:extLst>
          </p:cNvPr>
          <p:cNvCxnSpPr>
            <a:cxnSpLocks/>
          </p:cNvCxnSpPr>
          <p:nvPr userDrawn="1"/>
        </p:nvCxnSpPr>
        <p:spPr>
          <a:xfrm>
            <a:off x="720724" y="3084462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AC810204-7F21-219F-A718-3F5E41C955E6}"/>
              </a:ext>
            </a:extLst>
          </p:cNvPr>
          <p:cNvSpPr/>
          <p:nvPr userDrawn="1"/>
        </p:nvSpPr>
        <p:spPr>
          <a:xfrm>
            <a:off x="2335771" y="2897175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5986F40-8CE1-90D2-BED2-A6BF956C43A4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866DC150-E05C-93F4-918D-A6AE2567153F}"/>
              </a:ext>
            </a:extLst>
          </p:cNvPr>
          <p:cNvSpPr/>
          <p:nvPr userDrawn="1"/>
        </p:nvSpPr>
        <p:spPr>
          <a:xfrm>
            <a:off x="2784582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18FBD77-D606-2FC1-8CED-AB0B04EF1DBC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7C0BC4E-3361-AF5F-6C03-971CF1F82753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25" name="Picture 24" descr="Icon&#10;&#10;Description automatically generated">
              <a:extLst>
                <a:ext uri="{FF2B5EF4-FFF2-40B4-BE49-F238E27FC236}">
                  <a16:creationId xmlns:a16="http://schemas.microsoft.com/office/drawing/2014/main" id="{32EE242C-CF4C-0ECF-B105-D50BF44DC1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ED1BFFB-F857-5AA5-2B81-580A3155A2F4}"/>
              </a:ext>
            </a:extLst>
          </p:cNvPr>
          <p:cNvGrpSpPr/>
          <p:nvPr userDrawn="1"/>
        </p:nvGrpSpPr>
        <p:grpSpPr>
          <a:xfrm>
            <a:off x="2440285" y="2954406"/>
            <a:ext cx="2626437" cy="228600"/>
            <a:chOff x="720798" y="3314700"/>
            <a:chExt cx="2626437" cy="22860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90D9B5D-C78A-1801-8DB3-401B1AAC6CEC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8" name="Graphic 22" descr="Playbook outline">
              <a:extLst>
                <a:ext uri="{FF2B5EF4-FFF2-40B4-BE49-F238E27FC236}">
                  <a16:creationId xmlns:a16="http://schemas.microsoft.com/office/drawing/2014/main" id="{A4415860-A8EF-5BA8-AC0D-81672DCE9121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5C60D95E-F279-F0E1-4D16-630F9FC1A11D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74A44CC0-97ED-007E-0377-F5D2BFF84AA1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47CA920-AE44-2098-0F05-76BC5FB66769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08BF310E-271C-0DE3-A5C6-92DA32031ADB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2541B3C5-0601-6653-1358-0EE6F33E407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267388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81E2DF2-310A-B859-1CD2-BE081AF76B85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31">
            <a:extLst>
              <a:ext uri="{FF2B5EF4-FFF2-40B4-BE49-F238E27FC236}">
                <a16:creationId xmlns:a16="http://schemas.microsoft.com/office/drawing/2014/main" id="{5DEB308E-52E9-65FB-39A2-3E53FD6A68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873E47-87BF-01BB-4E61-E91376575734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</a:t>
            </a:r>
            <a:r>
              <a:rPr lang="en-US" sz="1000" kern="1200" noProof="0">
                <a:solidFill>
                  <a:schemeClr val="accent2"/>
                </a:solidFill>
                <a:latin typeface="Visa Dialect Semibold" pitchFamily="2" charset="0"/>
                <a:ea typeface="+mn-ea"/>
                <a:cs typeface="+mn-cs"/>
              </a:rPr>
              <a:t>Strategic Priority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D0B24D5E-B35A-0424-F0C4-E0D5CC0D6724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18A1B475-020B-A9DA-4D11-E1F5E4B3C72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350563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uture Conside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884460-2E6B-57C3-4A1A-3DD2267770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588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884460-2E6B-57C3-4A1A-3DD2267770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Strategic Priority / </a:t>
            </a:r>
            <a:r>
              <a:rPr lang="en-US" sz="1000" kern="1200" noProof="0">
                <a:solidFill>
                  <a:schemeClr val="accent3"/>
                </a:solidFill>
                <a:latin typeface="Visa Dialect Semibold" pitchFamily="2" charset="0"/>
                <a:ea typeface="+mn-ea"/>
                <a:cs typeface="+mn-cs"/>
              </a:rPr>
              <a:t>Future Consideration</a:t>
            </a: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66799D28-B391-06B3-D24A-6F510AD8478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113CD8B-B9CB-A647-F5BB-07FF390B2766}"/>
              </a:ext>
            </a:extLst>
          </p:cNvPr>
          <p:cNvCxnSpPr>
            <a:cxnSpLocks/>
          </p:cNvCxnSpPr>
          <p:nvPr userDrawn="1"/>
        </p:nvCxnSpPr>
        <p:spPr>
          <a:xfrm>
            <a:off x="720724" y="3084462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AC810204-7F21-219F-A718-3F5E41C955E6}"/>
              </a:ext>
            </a:extLst>
          </p:cNvPr>
          <p:cNvSpPr/>
          <p:nvPr userDrawn="1"/>
        </p:nvSpPr>
        <p:spPr>
          <a:xfrm>
            <a:off x="2335771" y="2897175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5986F40-8CE1-90D2-BED2-A6BF956C43A4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866DC150-E05C-93F4-918D-A6AE2567153F}"/>
              </a:ext>
            </a:extLst>
          </p:cNvPr>
          <p:cNvSpPr/>
          <p:nvPr userDrawn="1"/>
        </p:nvSpPr>
        <p:spPr>
          <a:xfrm>
            <a:off x="2784582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18FBD77-D606-2FC1-8CED-AB0B04EF1DBC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7C0BC4E-3361-AF5F-6C03-971CF1F82753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25" name="Picture 24" descr="Icon&#10;&#10;Description automatically generated">
              <a:extLst>
                <a:ext uri="{FF2B5EF4-FFF2-40B4-BE49-F238E27FC236}">
                  <a16:creationId xmlns:a16="http://schemas.microsoft.com/office/drawing/2014/main" id="{32EE242C-CF4C-0ECF-B105-D50BF44DC1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ED1BFFB-F857-5AA5-2B81-580A3155A2F4}"/>
              </a:ext>
            </a:extLst>
          </p:cNvPr>
          <p:cNvGrpSpPr/>
          <p:nvPr userDrawn="1"/>
        </p:nvGrpSpPr>
        <p:grpSpPr>
          <a:xfrm>
            <a:off x="2440285" y="2954406"/>
            <a:ext cx="2626437" cy="228600"/>
            <a:chOff x="720798" y="3314700"/>
            <a:chExt cx="2626437" cy="22860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90D9B5D-C78A-1801-8DB3-401B1AAC6CEC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8" name="Graphic 22" descr="Playbook outline">
              <a:extLst>
                <a:ext uri="{FF2B5EF4-FFF2-40B4-BE49-F238E27FC236}">
                  <a16:creationId xmlns:a16="http://schemas.microsoft.com/office/drawing/2014/main" id="{A4415860-A8EF-5BA8-AC0D-81672DCE9121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5C60D95E-F279-F0E1-4D16-630F9FC1A11D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74A44CC0-97ED-007E-0377-F5D2BFF84AA1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47CA920-AE44-2098-0F05-76BC5FB66769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08BF310E-271C-0DE3-A5C6-92DA32031ADB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2541B3C5-0601-6653-1358-0EE6F33E407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267388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81E2DF2-310A-B859-1CD2-BE081AF76B85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31">
            <a:extLst>
              <a:ext uri="{FF2B5EF4-FFF2-40B4-BE49-F238E27FC236}">
                <a16:creationId xmlns:a16="http://schemas.microsoft.com/office/drawing/2014/main" id="{5DEB308E-52E9-65FB-39A2-3E53FD6A68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</p:spTree>
    <p:extLst>
      <p:ext uri="{BB962C8B-B14F-4D97-AF65-F5344CB8AC3E}">
        <p14:creationId xmlns:p14="http://schemas.microsoft.com/office/powerpoint/2010/main" val="348376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uture Conside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884460-2E6B-57C3-4A1A-3DD2267770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588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884460-2E6B-57C3-4A1A-3DD2267770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Strategic Priority / </a:t>
            </a:r>
            <a:r>
              <a:rPr lang="en-US" sz="1000" kern="1200" noProof="0">
                <a:solidFill>
                  <a:schemeClr val="accent3"/>
                </a:solidFill>
                <a:latin typeface="Visa Dialect Semibold" pitchFamily="2" charset="0"/>
                <a:ea typeface="+mn-ea"/>
                <a:cs typeface="+mn-cs"/>
              </a:rPr>
              <a:t>Future Consideration</a:t>
            </a: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66799D28-B391-06B3-D24A-6F510AD8478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68633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45919AD-36C2-4214-89C4-F6CAFE1A95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494433A-76E9-8548-6174-59B3F487B534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D59541D2-D3AB-E249-69B1-709F596F2B2E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6A7E2A-ECEA-B51F-6CD5-31BC39D73144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21971F0C-31E3-7B28-0FC7-4BC642AFA4FC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>
            <a:off x="11014876" y="6400799"/>
            <a:ext cx="567524" cy="94147"/>
          </a:xfrm>
        </p:spPr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2751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0659210-753C-4957-8F25-A4D709FAB681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28DF06C-CFDC-2447-B7D4-E75EC0431F79}"/>
              </a:ext>
            </a:extLst>
          </p:cNvPr>
          <p:cNvCxnSpPr>
            <a:cxnSpLocks/>
          </p:cNvCxnSpPr>
          <p:nvPr userDrawn="1"/>
        </p:nvCxnSpPr>
        <p:spPr>
          <a:xfrm>
            <a:off x="60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F1E348A8-D8AD-8342-95C4-1E731B229D5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636295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BE5757E-813A-8F48-9A5A-EEC1071594D2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45273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7" name="Picture Placeholder 2">
            <a:extLst>
              <a:ext uri="{FF2B5EF4-FFF2-40B4-BE49-F238E27FC236}">
                <a16:creationId xmlns:a16="http://schemas.microsoft.com/office/drawing/2014/main" id="{95C65A02-D19F-294F-BC73-89CD66DB23DC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269171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0C183E4-86E4-6940-9A6D-E9DE7740EFA7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13310" y="3379809"/>
            <a:ext cx="340359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3ECD2BF-4248-F14F-AB63-732DFF2D5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8DA343F-1525-584F-88BA-86B0FE83B43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EE7EA97-253E-FB40-B94E-BE9389B08B5F}"/>
              </a:ext>
            </a:extLst>
          </p:cNvPr>
          <p:cNvCxnSpPr>
            <a:cxnSpLocks/>
          </p:cNvCxnSpPr>
          <p:nvPr userDrawn="1"/>
        </p:nvCxnSpPr>
        <p:spPr>
          <a:xfrm>
            <a:off x="441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BE90A3C5-FAC6-4A4A-B289-095811B7B144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423311" y="3379809"/>
            <a:ext cx="3349090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A926BB4-EEF2-5A49-844D-B93A3BB53E82}"/>
              </a:ext>
            </a:extLst>
          </p:cNvPr>
          <p:cNvCxnSpPr>
            <a:cxnSpLocks/>
          </p:cNvCxnSpPr>
          <p:nvPr userDrawn="1"/>
        </p:nvCxnSpPr>
        <p:spPr>
          <a:xfrm>
            <a:off x="81915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B46288C4-4A89-B443-8199-6DBD23F67C2B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8195210" y="3379809"/>
            <a:ext cx="339988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8D0F15B-D16C-1944-9EC2-DED14D92BDA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6556354-C575-3D39-E720-9EC4D7271D5A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849F064-1537-95FA-E41E-18BFE7E86770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0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2040">
          <p15:clr>
            <a:srgbClr val="FBAE40"/>
          </p15:clr>
        </p15:guide>
      </p15:sldGuideLst>
    </p:ext>
  </p:extLst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645697D-6B3B-45DA-A22A-44A4189FD9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652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645697D-6B3B-45DA-A22A-44A4189FD9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45919AD-36C2-4214-89C4-F6CAFE1A95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D64FBC7-0348-4FCB-B4CC-B3EBB783480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A702D7AF-AB2C-1032-8B2B-5F3BAD1C75F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CC49245-B4AA-0392-410B-631687CE0F48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FE2C794-72C0-6563-F5D6-8FEEB8F1BE4C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7997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  <p15:guide id="5" pos="5736">
          <p15:clr>
            <a:srgbClr val="FBAE40"/>
          </p15:clr>
        </p15:guide>
      </p15:sldGuideLst>
    </p:ext>
  </p:extLst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BD94BD7-12E0-4039-A6BE-706E15DF6B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952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BD94BD7-12E0-4039-A6BE-706E15DF6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E00F683-FF21-46E3-A68D-2D9DDBCFCAA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B56A1C5-73D4-4CC9-BF77-E43ED523EEA9}"/>
              </a:ext>
            </a:extLst>
          </p:cNvPr>
          <p:cNvSpPr txBox="1"/>
          <p:nvPr userDrawn="1"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E1288FC-A578-4C20-8663-165AE4153C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96000" y="114300"/>
            <a:ext cx="5464884" cy="266700"/>
          </a:xfrm>
        </p:spPr>
        <p:txBody>
          <a:bodyPr anchor="ctr"/>
          <a:lstStyle>
            <a:lvl1pPr algn="r">
              <a:defRPr sz="1200" b="1" i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Page Flag</a:t>
            </a:r>
          </a:p>
        </p:txBody>
      </p:sp>
    </p:spTree>
    <p:extLst>
      <p:ext uri="{BB962C8B-B14F-4D97-AF65-F5344CB8AC3E}">
        <p14:creationId xmlns:p14="http://schemas.microsoft.com/office/powerpoint/2010/main" val="2495466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84262" y="6392946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 userDrawn="1"/>
        </p:nvSpPr>
        <p:spPr>
          <a:xfrm>
            <a:off x="11387579" y="6580760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7484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1EF644C3-BD07-6F42-99C3-8410727AAF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2819443"/>
            <a:ext cx="5283200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CDC8C9A-A5A1-DC44-9C5A-22CFBA39C58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48400" y="2819443"/>
            <a:ext cx="5334003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ED0B6DA-B1AD-8E4B-8D28-00B2D6352F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743455"/>
            <a:ext cx="5283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2A5599-054E-9A4C-941D-DEAF685255BE}"/>
              </a:ext>
            </a:extLst>
          </p:cNvPr>
          <p:cNvCxnSpPr>
            <a:cxnSpLocks/>
          </p:cNvCxnSpPr>
          <p:nvPr userDrawn="1"/>
        </p:nvCxnSpPr>
        <p:spPr>
          <a:xfrm>
            <a:off x="609601" y="2697685"/>
            <a:ext cx="5306479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3914B0B-B3F6-A24C-B306-C2DE3CCFF8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48400" y="1743455"/>
            <a:ext cx="53340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E64FE3A-369E-0945-9952-79DE2D0CB498}"/>
              </a:ext>
            </a:extLst>
          </p:cNvPr>
          <p:cNvCxnSpPr>
            <a:cxnSpLocks/>
          </p:cNvCxnSpPr>
          <p:nvPr userDrawn="1"/>
        </p:nvCxnSpPr>
        <p:spPr>
          <a:xfrm>
            <a:off x="6248400" y="2697685"/>
            <a:ext cx="53340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28027102-0F0C-44D6-B79F-C9D54C4E64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687A00C-C9A6-DD42-9977-99993E7D4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6398BA2-811F-1C41-BC08-078B116D4ED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28E9757-427C-C249-9F47-223DCD7BF1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5C6B76-F1B3-4070-9AD9-721B1B3B1DD5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467C840-0571-4C02-AAFA-CE700D8B2679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349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Thre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90AF7A3C-BA0F-9B49-B1B5-D713C19139C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2"/>
            <a:ext cx="5346192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61755EBA-80EC-6B4F-B350-DC2DD71209FC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455C0536-27A6-644D-8348-9541070F401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248400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B3F5BBC4-47E5-1E46-9E4F-B0D0BB7BAB04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001094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38045DB-4C64-CE4D-B8E5-9949681D1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B569F93-B18A-C246-94EF-34A7D4EDD94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B82EFF1-330B-4836-903F-6A84270FD57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7AEBFDC-B9B1-4244-8C0A-FB96B618CE19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804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248400" y="3308593"/>
            <a:ext cx="5346192" cy="2726853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A2E6023-8A40-1E44-BD81-EED366C96875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001094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65C3A6A-0967-1E4F-8831-6EA71CD06F5D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09600" y="1081613"/>
            <a:ext cx="5486399" cy="495382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1FAB2697-2712-FE45-8DA0-EF63106E2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69977AA-16BB-0C4F-A664-D6686D72F1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D48A80E-91B9-4883-AF18-8C7AA972CC5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51FBD82-9305-4AB9-A6F2-193572D1A7EC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623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pos="384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031890" y="-10673"/>
            <a:ext cx="4160109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FBB367A8-8DCC-6847-8D30-74516D9E043C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031889" y="2390327"/>
            <a:ext cx="4160111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32A0B33A-CF8B-1947-ACB2-AB69665D80A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-1" y="1380745"/>
            <a:ext cx="7303008" cy="5477257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FDD1D1A5-5D9F-764D-A02B-21CB1442F7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FF61E78-AFFB-F44B-BFDB-C2B5875FA03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32D6F3F-2B06-47D0-B011-DEE222649B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0" y="6484834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273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59DC62E-7380-5A49-8746-53EFA12DC6E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1" y="1600201"/>
            <a:ext cx="2946400" cy="3619500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3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300"/>
              </a:spcBef>
              <a:defRPr sz="1400"/>
            </a:lvl3pPr>
            <a:lvl4pPr>
              <a:lnSpc>
                <a:spcPct val="100000"/>
              </a:lnSpc>
              <a:spcBef>
                <a:spcPts val="3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3CFF718-B5F0-3D45-A03C-81D5E2147CD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973689" y="2816352"/>
            <a:ext cx="7608711" cy="3124200"/>
          </a:xfrm>
        </p:spPr>
        <p:txBody>
          <a:bodyPr wrap="square" anchor="b" anchorCtr="0"/>
          <a:lstStyle>
            <a:lvl1pPr algn="r">
              <a:lnSpc>
                <a:spcPts val="18500"/>
              </a:lnSpc>
              <a:spcBef>
                <a:spcPts val="0"/>
              </a:spcBef>
              <a:defRPr sz="25000" b="0" i="0" kern="0" spc="-1000" baseline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952DD641-DB3B-6F45-8A70-05A69559D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747253A-0C59-CE4B-BC84-E5D8D706360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E29E302-14CA-4A33-8BC5-EADF194EEDC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D0EDB8-48E0-4FEC-B6E9-1C2B14E73346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4785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496">
          <p15:clr>
            <a:srgbClr val="FBAE40"/>
          </p15:clr>
        </p15:guide>
        <p15:guide id="9" pos="2240">
          <p15:clr>
            <a:srgbClr val="FBAE40"/>
          </p15:clr>
        </p15:guide>
        <p15:guide id="10" orient="horz" pos="32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Cut Out Photo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, rectangle&#10;&#10;Description automatically generated">
            <a:extLst>
              <a:ext uri="{FF2B5EF4-FFF2-40B4-BE49-F238E27FC236}">
                <a16:creationId xmlns:a16="http://schemas.microsoft.com/office/drawing/2014/main" id="{B0E12C26-1E94-CB42-8023-58210ADC5FB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1776" y="1610833"/>
            <a:ext cx="4163676" cy="278133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3FB5CC-A908-C349-A4A1-3544609E2CE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8B5B4A7-F017-C24F-89BE-552CF18DD5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9F4E330-F8C7-B84B-AAAB-64D4D5BB75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9" name="Picture 18" descr="A person wearing a hat&#10;&#10;Description automatically generated with low confidence">
            <a:extLst>
              <a:ext uri="{FF2B5EF4-FFF2-40B4-BE49-F238E27FC236}">
                <a16:creationId xmlns:a16="http://schemas.microsoft.com/office/drawing/2014/main" id="{FC0D15E3-B337-0549-B525-3F77087FC50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31405" y="208974"/>
            <a:ext cx="3774637" cy="664902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97C0451-24A4-DD41-B323-03E7C37034A9}"/>
              </a:ext>
            </a:extLst>
          </p:cNvPr>
          <p:cNvSpPr txBox="1"/>
          <p:nvPr/>
        </p:nvSpPr>
        <p:spPr>
          <a:xfrm>
            <a:off x="11398241" y="6577436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E1F78A4-DBDB-4267-92AD-FFB06CFE32B1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12913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600201"/>
            <a:ext cx="5283200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7D909CE-D30F-4445-9B83-FD490780AD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" y="4745032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E55C82F-13DC-204D-866F-573A53A30E3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8400" y="4739396"/>
            <a:ext cx="53340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600201"/>
            <a:ext cx="5328355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75B0F87-EFC2-B148-AC62-E7EDC82B6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F63A11A-E0DC-C441-8C0C-0C92B7CC32E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B25A1AE-430C-4E3F-B4DA-89765ADCE84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D9FBB5F-0912-4808-8F9B-FD48F34BDCF6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5172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331449"/>
            <a:ext cx="4462271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33144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E260A1A-688B-774C-903C-0A3A1228859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09600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BF07118-053B-414A-A34E-2E71FB891D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66688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884995DE-D9B7-F74A-9A09-BC6B33E180B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09601" y="3663169"/>
            <a:ext cx="4462272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397435F2-C0C2-E842-AD20-5B59B875A84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4045" y="366316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8CC7B25-E7E3-7A4F-9221-95D452FB9BF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9600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0496160-F36D-7148-9711-3D00BA6DF6B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66688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850DE0C8-C2ED-EF4F-9321-CC3341907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91112C-9FF7-DE43-AF82-37C4452C4F3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BD2D741-96EA-4B37-83EC-15456C8FA5B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39A304C-ACC3-4AE0-B235-3D60A506A860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2973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B04D166-4958-9349-BD73-4AD540758D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10202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53D914B-3AFE-47C3-BF0E-9F2857DB64D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0" y="6471465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9367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Gray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E99A931-BFA9-5441-87EA-3CF04D1426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102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1CAB7F5-D1DD-4ABB-A139-2DA2612859D4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853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42602" y="2091325"/>
            <a:ext cx="7906795" cy="2675350"/>
          </a:xfrm>
        </p:spPr>
        <p:txBody>
          <a:bodyPr anchor="ctr" anchorCtr="0">
            <a:norm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 algn="ctr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0" name="Picture 9" descr="Logo, icon, company name&#10;&#10;Description automatically generated">
            <a:extLst>
              <a:ext uri="{FF2B5EF4-FFF2-40B4-BE49-F238E27FC236}">
                <a16:creationId xmlns:a16="http://schemas.microsoft.com/office/drawing/2014/main" id="{C96BA8FE-3771-B54A-859B-C75E4B87088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303323"/>
            <a:ext cx="2934502" cy="1645920"/>
          </a:xfrm>
          <a:prstGeom prst="rect">
            <a:avLst/>
          </a:prstGeom>
        </p:spPr>
      </p:pic>
      <p:pic>
        <p:nvPicPr>
          <p:cNvPr id="11" name="Picture 10" descr="Logo, icon, company name&#10;&#10;Description automatically generated">
            <a:extLst>
              <a:ext uri="{FF2B5EF4-FFF2-40B4-BE49-F238E27FC236}">
                <a16:creationId xmlns:a16="http://schemas.microsoft.com/office/drawing/2014/main" id="{2EEAE64F-E79B-A540-A03C-DED1488A624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4908758"/>
            <a:ext cx="2934502" cy="164592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7660CAB-0686-4EAF-A388-2D660A2D1D37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372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ogo, icon, company name&#10;&#10;Description automatically generated">
            <a:extLst>
              <a:ext uri="{FF2B5EF4-FFF2-40B4-BE49-F238E27FC236}">
                <a16:creationId xmlns:a16="http://schemas.microsoft.com/office/drawing/2014/main" id="{7F5ACA36-7B90-4DAB-9853-21FD876EE1B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8591" y="282057"/>
            <a:ext cx="3260557" cy="1828800"/>
          </a:xfrm>
          <a:prstGeom prst="rect">
            <a:avLst/>
          </a:prstGeom>
        </p:spPr>
      </p:pic>
      <p:pic>
        <p:nvPicPr>
          <p:cNvPr id="11" name="Picture 10" descr="Logo, icon, company name&#10;&#10;Description automatically generated">
            <a:extLst>
              <a:ext uri="{FF2B5EF4-FFF2-40B4-BE49-F238E27FC236}">
                <a16:creationId xmlns:a16="http://schemas.microsoft.com/office/drawing/2014/main" id="{64E791DD-49B1-496A-A392-7FC776855FA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86004" y="4725878"/>
            <a:ext cx="3260558" cy="1828800"/>
          </a:xfrm>
          <a:prstGeom prst="rect">
            <a:avLst/>
          </a:prstGeom>
        </p:spPr>
      </p:pic>
      <p:pic>
        <p:nvPicPr>
          <p:cNvPr id="12" name="Picture 11" descr="A person wearing a hat&#10;&#10;Description automatically generated with low confidence">
            <a:extLst>
              <a:ext uri="{FF2B5EF4-FFF2-40B4-BE49-F238E27FC236}">
                <a16:creationId xmlns:a16="http://schemas.microsoft.com/office/drawing/2014/main" id="{51BF93FB-67CC-AB45-8F7F-896B8D199EF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2992" y="396682"/>
            <a:ext cx="3656002" cy="6440051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A489385-8E1D-F44F-AA67-025F1040A8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3805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3173C11-BEDD-4F38-9CDB-31570967D1FB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661694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  <p15:guide id="13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- Phot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6B00F83-3660-194B-97E0-4599783E67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881BD6-5C0C-4CDA-94FE-9534E908DD60}"/>
              </a:ext>
            </a:extLst>
          </p:cNvPr>
          <p:cNvSpPr txBox="1"/>
          <p:nvPr/>
        </p:nvSpPr>
        <p:spPr>
          <a:xfrm>
            <a:off x="9386243" y="6533685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C31686-0601-49A1-A560-B36639F0D219}"/>
              </a:ext>
            </a:extLst>
          </p:cNvPr>
          <p:cNvSpPr txBox="1"/>
          <p:nvPr/>
        </p:nvSpPr>
        <p:spPr>
          <a:xfrm>
            <a:off x="11459886" y="6533684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24F9840-9E8F-43BB-876D-6619929D9C3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2922" y="6427604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822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- Phot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5E62AD0-7492-9248-A420-17A87723997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3810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345161-A988-430F-8F5D-2140002DC367}"/>
              </a:ext>
            </a:extLst>
          </p:cNvPr>
          <p:cNvSpPr txBox="1"/>
          <p:nvPr/>
        </p:nvSpPr>
        <p:spPr>
          <a:xfrm>
            <a:off x="9395505" y="65716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D2F956-51D0-4CEA-A8C6-557C91248403}"/>
              </a:ext>
            </a:extLst>
          </p:cNvPr>
          <p:cNvSpPr txBox="1"/>
          <p:nvPr/>
        </p:nvSpPr>
        <p:spPr>
          <a:xfrm>
            <a:off x="11469148" y="65716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DF408AB-69B0-441A-9B12-C7BA9415306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0" y="6484834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802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27C9290-886E-4D7E-9009-0ACD4751EE4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0" y="6471465"/>
            <a:ext cx="552780" cy="17910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8251ADD-3E47-407F-A1C2-B1307471FAF1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8283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64CFA36-6835-0746-9840-0E0BCAB2C9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86E6A59-D2EF-466D-A88F-3B7C0E9FCDF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004" y="6495108"/>
            <a:ext cx="552780" cy="17910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B319F3C-F506-439F-A2AE-181BB7B75B58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1964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Cut Out Photo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BFEC35DF-7B4B-3640-B202-6D0D3C8927A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1776" y="1610833"/>
            <a:ext cx="4163676" cy="2781331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29A6456-0C45-5243-BC7D-3EBF863AF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9DAEB0D-D158-EE40-8A18-ED68A560B4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1F67C15-23BB-C34D-984B-365C6144B85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1264048-8683-B04A-BE92-365764B758F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86920" y="296944"/>
            <a:ext cx="3898532" cy="618005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964E4DA-CF8C-5245-BEE4-F59B1938DEC7}"/>
              </a:ext>
            </a:extLst>
          </p:cNvPr>
          <p:cNvSpPr txBox="1"/>
          <p:nvPr/>
        </p:nvSpPr>
        <p:spPr>
          <a:xfrm>
            <a:off x="11429064" y="6587710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86C8F39-AC74-4106-A1AE-01B8F6D9634C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1884954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E1D89F0-AB54-E544-B426-C59272FE43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611252"/>
            <a:ext cx="5784219" cy="1817748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112A3CB-66FF-49A9-9F83-DC384BD34AB6}"/>
              </a:ext>
            </a:extLst>
          </p:cNvPr>
          <p:cNvSpPr txBox="1"/>
          <p:nvPr/>
        </p:nvSpPr>
        <p:spPr>
          <a:xfrm>
            <a:off x="9314324" y="6525435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71590D-A924-4EC3-8C0E-CF38A11B8CCB}"/>
              </a:ext>
            </a:extLst>
          </p:cNvPr>
          <p:cNvSpPr txBox="1"/>
          <p:nvPr/>
        </p:nvSpPr>
        <p:spPr>
          <a:xfrm>
            <a:off x="11387967" y="6525434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01E167C1-AF1A-49C1-B2DA-711E50FCCAD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209" y="6438667"/>
            <a:ext cx="552782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881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A4E5295-54E4-5142-89B4-6296C4B8CF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38F4279-0F64-1745-A6B8-C2704BC5A301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-830952" y="457200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63AACBE6-E182-6345-AFB0-E51AFD9846EE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10741427" y="3920825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284B4A-F3EF-48DB-B768-CE1306A5279A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9413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Quote - Photo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F536B2A-9621-8D43-9647-6BD326BB0E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F7283E-B18E-4891-9644-6A173F99F930}"/>
              </a:ext>
            </a:extLst>
          </p:cNvPr>
          <p:cNvSpPr txBox="1"/>
          <p:nvPr/>
        </p:nvSpPr>
        <p:spPr>
          <a:xfrm>
            <a:off x="9350396" y="6577470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D6FC2312-8932-4742-9352-D9582897CC1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387" y="6484834"/>
            <a:ext cx="552782" cy="179101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3CB8621-64B6-4F56-8633-4DF2DB899C2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D841583-D170-45C7-AB36-539B75AB3DB3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869170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8D7751A-3D2C-4958-8F3D-7FD3A46C34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933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2" imgH="378" progId="TCLayout.ActiveDocument.1">
                  <p:embed/>
                </p:oleObj>
              </mc:Choice>
              <mc:Fallback>
                <p:oleObj name="think-cell Slide" r:id="rId3" imgW="382" imgH="3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8D7751A-3D2C-4958-8F3D-7FD3A46C34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C2B55CED-442B-411B-B70F-3E692974BDCB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F768C6C-CF58-204D-9B49-15E274BCFB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533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2FD0776-1F23-4D62-9F8D-E0CA57957C9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8564" y="6490703"/>
            <a:ext cx="552780" cy="17910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05DEE2C-2E47-4811-B2C1-83816EAFDC10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840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C9001175-7075-1645-A2F8-5CFF254A79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4098631"/>
            <a:ext cx="5486400" cy="255210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For more information, please contact: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7BDC76E-3EAD-FF42-A2C0-030580EC536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600" y="4456611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31DD59B-560C-1E42-BC4F-D82BCCB9388E}"/>
              </a:ext>
            </a:extLst>
          </p:cNvPr>
          <p:cNvCxnSpPr>
            <a:cxnSpLocks/>
          </p:cNvCxnSpPr>
          <p:nvPr/>
        </p:nvCxnSpPr>
        <p:spPr>
          <a:xfrm>
            <a:off x="609600" y="4369549"/>
            <a:ext cx="5283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038108E8-A91B-544B-AE58-E579F97F32F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60494" y="4456611"/>
            <a:ext cx="5321905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92F71DB-5BDC-4740-BCA4-437EB0A68AB1}"/>
              </a:ext>
            </a:extLst>
          </p:cNvPr>
          <p:cNvCxnSpPr>
            <a:cxnSpLocks/>
          </p:cNvCxnSpPr>
          <p:nvPr/>
        </p:nvCxnSpPr>
        <p:spPr>
          <a:xfrm>
            <a:off x="6260496" y="4369549"/>
            <a:ext cx="5321905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8DC9CEBF-A997-3847-A730-F505EFD8210D}"/>
              </a:ext>
            </a:extLst>
          </p:cNvPr>
          <p:cNvSpPr txBox="1">
            <a:spLocks/>
          </p:cNvSpPr>
          <p:nvPr/>
        </p:nvSpPr>
        <p:spPr>
          <a:xfrm>
            <a:off x="609600" y="2335492"/>
            <a:ext cx="10972800" cy="1318883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Visa Dialect Medium" pitchFamily="2" charset="0"/>
                <a:ea typeface="+mj-ea"/>
                <a:cs typeface="+mj-cs"/>
              </a:defRPr>
            </a:lvl1pPr>
          </a:lstStyle>
          <a:p>
            <a:r>
              <a:rPr lang="en-US" sz="8000" spc="-150"/>
              <a:t>Thank you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93703EF-3215-7C4F-9099-263CB544039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13" name="Picture 12" descr="Background pattern, rectangle&#10;&#10;Description automatically generated">
            <a:extLst>
              <a:ext uri="{FF2B5EF4-FFF2-40B4-BE49-F238E27FC236}">
                <a16:creationId xmlns:a16="http://schemas.microsoft.com/office/drawing/2014/main" id="{1158DE16-2738-D94E-92CB-790882C8E9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E76B1A94-9885-4083-B250-B2F8FCFE31F0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B082A17-3BF0-485D-AF74-856D945FE814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042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44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56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Quote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0C35452-CE92-4041-B1AB-4652EFF98AA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B64EAB7-0C63-4110-AFD6-912C991E3C10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626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Quote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AF825AC-87A8-4DE1-883F-A7D4E837D14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9" name="Picture 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4C178F04-8C13-4DD6-BAE5-DE0ED7BE499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ED8F4C4-5704-49EA-A065-468B22A46110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A140EB4-4115-462D-9E17-9AA6427C2006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298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4C3246-B392-4150-9B5C-C1BCC3CEDEE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2711" y="6484834"/>
            <a:ext cx="552780" cy="179101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1DF0EB1-A487-43C2-9424-AE2D4457E71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C160B40-EE83-4F8F-B476-E4C1B82A5E06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2425725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45919AD-36C2-4214-89C4-F6CAFE1A95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0AEBB67-1858-8045-8897-E60ACC3C616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</p:spTree>
    <p:extLst>
      <p:ext uri="{BB962C8B-B14F-4D97-AF65-F5344CB8AC3E}">
        <p14:creationId xmlns:p14="http://schemas.microsoft.com/office/powerpoint/2010/main" val="21630615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1">
            <a:extLst>
              <a:ext uri="{FF2B5EF4-FFF2-40B4-BE49-F238E27FC236}">
                <a16:creationId xmlns:a16="http://schemas.microsoft.com/office/drawing/2014/main" id="{0B54B57D-4A13-4469-9179-52A8E144AA4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68"/>
            <a:ext cx="11256264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3"/>
                </a:solidFill>
              </a:defRPr>
            </a:lvl1pPr>
            <a:lvl2pPr marL="457189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377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566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754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5943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131" indent="0">
              <a:buNone/>
              <a:defRPr sz="2000" b="0">
                <a:solidFill>
                  <a:schemeClr val="accent3"/>
                </a:solidFill>
              </a:defRPr>
            </a:lvl7pPr>
            <a:lvl8pPr marL="3200320" indent="0">
              <a:buNone/>
              <a:defRPr sz="2000" b="0">
                <a:solidFill>
                  <a:schemeClr val="accent3"/>
                </a:solidFill>
              </a:defRPr>
            </a:lvl8pPr>
            <a:lvl9pPr marL="3657509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8"/>
            <a:ext cx="7205472" cy="96951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189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377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566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754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5943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131" indent="0">
              <a:buNone/>
              <a:defRPr sz="2000" b="0">
                <a:solidFill>
                  <a:schemeClr val="accent3"/>
                </a:solidFill>
              </a:defRPr>
            </a:lvl7pPr>
            <a:lvl8pPr marL="3200320" indent="0">
              <a:buNone/>
              <a:defRPr sz="2000" b="0">
                <a:solidFill>
                  <a:schemeClr val="accent3"/>
                </a:solidFill>
              </a:defRPr>
            </a:lvl8pPr>
            <a:lvl9pPr marL="3657509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433114"/>
            <a:ext cx="11256264" cy="535531"/>
          </a:xfrm>
        </p:spPr>
        <p:txBody>
          <a:bodyPr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04962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Cut Out Photo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Background pattern, rectangle&#10;&#10;Description automatically generated">
            <a:extLst>
              <a:ext uri="{FF2B5EF4-FFF2-40B4-BE49-F238E27FC236}">
                <a16:creationId xmlns:a16="http://schemas.microsoft.com/office/drawing/2014/main" id="{E8930F7D-FC4C-B545-BF55-6C2F96ED1D7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1776" y="1610833"/>
            <a:ext cx="4163676" cy="2781331"/>
          </a:xfrm>
          <a:prstGeom prst="rect">
            <a:avLst/>
          </a:prstGeom>
        </p:spPr>
      </p:pic>
      <p:pic>
        <p:nvPicPr>
          <p:cNvPr id="22" name="Picture 21" descr="A person holding a phone&#10;&#10;Description automatically generated with medium confidence">
            <a:extLst>
              <a:ext uri="{FF2B5EF4-FFF2-40B4-BE49-F238E27FC236}">
                <a16:creationId xmlns:a16="http://schemas.microsoft.com/office/drawing/2014/main" id="{7CF29D7B-D274-A24D-9456-1D142F993F1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11528" y="734453"/>
            <a:ext cx="3702286" cy="6123547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A4B0D38C-5191-2A46-A65F-EB152D0EE1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10833"/>
            <a:ext cx="5486400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FAD9EF4-BFE4-544D-89ED-637CA0828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2647860"/>
            <a:ext cx="5486399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EF24CA7-7CB8-2447-9C3C-B88313F9FBC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3" y="385590"/>
            <a:ext cx="836212" cy="270932"/>
          </a:xfrm>
          <a:prstGeom prst="rect">
            <a:avLst/>
          </a:prstGeom>
        </p:spPr>
      </p:pic>
      <p:pic>
        <p:nvPicPr>
          <p:cNvPr id="23" name="Picture 22" descr="A picture containing person, dog&#10;&#10;Description automatically generated">
            <a:extLst>
              <a:ext uri="{FF2B5EF4-FFF2-40B4-BE49-F238E27FC236}">
                <a16:creationId xmlns:a16="http://schemas.microsoft.com/office/drawing/2014/main" id="{30F7D106-CE35-E242-B8C0-5B06D3A2CE6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7833" y="3909462"/>
            <a:ext cx="2726676" cy="278133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3F4E884-A953-F146-98F1-8B4C5B6833E5}"/>
              </a:ext>
            </a:extLst>
          </p:cNvPr>
          <p:cNvSpPr txBox="1"/>
          <p:nvPr/>
        </p:nvSpPr>
        <p:spPr>
          <a:xfrm>
            <a:off x="11439700" y="6577912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A3DEAE8-4A72-4BCE-B4E2-12326ADEF205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843967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Illustrati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B980B98-A2F2-104F-B1F3-4969CC3C5A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54240" y="2776810"/>
            <a:ext cx="4431429" cy="329931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1200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Dark Phot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08AFEF0-CB40-4365-A775-D6F2BB16FA4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0"/>
          <a:stretch/>
        </p:blipFill>
        <p:spPr>
          <a:xfrm>
            <a:off x="0" y="693"/>
            <a:ext cx="121920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8EC1F21-AAC7-8A41-9558-DBE34F21E88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AFB0E0BF-8F1B-C647-A3D3-2167637E4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63D750A-F4C0-194B-A4D8-5A5E6C4DEE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7" name="Picture 6" descr="Background pattern, rectangle&#10;&#10;Description automatically generated">
            <a:extLst>
              <a:ext uri="{FF2B5EF4-FFF2-40B4-BE49-F238E27FC236}">
                <a16:creationId xmlns:a16="http://schemas.microsoft.com/office/drawing/2014/main" id="{E058CA6E-5F4B-F941-BD6B-E82D893B126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6C5AB2C-D691-9849-BDBB-E7E6DFBD91C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1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BAB3BF8-5AE5-EB46-8B57-998DACED1EF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1"/>
                </a:solidFill>
              </a:rPr>
              <a:pPr algn="r"/>
              <a:t>‹#›</a:t>
            </a:fld>
            <a:endParaRPr lang="en-US" sz="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5524063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876AED2-1CFF-4BDE-9E1E-69CBC3EB080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159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4848DAD-A1C5-BA4C-9B67-B4FD8714D28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7F36E9A5-B20B-9240-BE59-A48AFE097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4173" y="1610833"/>
            <a:ext cx="5481827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856474F-DB99-E44D-BFE6-6C67698BAD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4173" y="2647860"/>
            <a:ext cx="5481826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9" name="Picture 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03B21D41-9026-49AE-9F0C-C3635D68359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9560AEA-675B-0747-9C5B-DBF5C5D4574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475C2A6-77D3-EE48-B7DC-5AD197DBE1D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693095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Animated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80FA535-D4AF-42CF-9E01-4C837F26F4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0148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2" imgH="378" progId="TCLayout.ActiveDocument.1">
                  <p:embed/>
                </p:oleObj>
              </mc:Choice>
              <mc:Fallback>
                <p:oleObj name="think-cell Slide" r:id="rId5" imgW="382" imgH="3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80FA535-D4AF-42CF-9E01-4C837F26F4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0A6D42A5-3782-4C2C-9F77-15CD87FBF908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ver animation" descr="Cover animation">
            <a:extLst>
              <a:ext uri="{FF2B5EF4-FFF2-40B4-BE49-F238E27FC236}">
                <a16:creationId xmlns:a16="http://schemas.microsoft.com/office/drawing/2014/main" id="{7FC1DE2B-DAD6-47AB-9CB9-E8506337D6AE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6522783" y="0"/>
            <a:ext cx="5669217" cy="6823913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9F72CCA6-9EE3-C247-B43B-2AA3A4865D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292D8FE-1B47-1448-BFAB-BD805161A9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9F79052-C88A-1048-8CED-1033FB84B149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pic>
        <p:nvPicPr>
          <p:cNvPr id="8" name="Picture 7" descr="Background pattern, rectangle&#10;&#10;Description automatically generated">
            <a:extLst>
              <a:ext uri="{FF2B5EF4-FFF2-40B4-BE49-F238E27FC236}">
                <a16:creationId xmlns:a16="http://schemas.microsoft.com/office/drawing/2014/main" id="{ED388E55-55D7-5C40-ADE9-5CEA3FE4221C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199D746-2464-FD49-84E3-654E4F57AC0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86940F-7C28-224B-98AB-1812886ABDC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91684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648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Cut Out Photo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, rectangle&#10;&#10;Description automatically generated">
            <a:extLst>
              <a:ext uri="{FF2B5EF4-FFF2-40B4-BE49-F238E27FC236}">
                <a16:creationId xmlns:a16="http://schemas.microsoft.com/office/drawing/2014/main" id="{B0E12C26-1E94-CB42-8023-58210ADC5FB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1776" y="1610833"/>
            <a:ext cx="4163676" cy="278133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3FB5CC-A908-C349-A4A1-3544609E2CE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8B5B4A7-F017-C24F-89BE-552CF18DD5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9F4E330-F8C7-B84B-AAAB-64D4D5BB75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9" name="Picture 18" descr="A person wearing a hat&#10;&#10;Description automatically generated with low confidence">
            <a:extLst>
              <a:ext uri="{FF2B5EF4-FFF2-40B4-BE49-F238E27FC236}">
                <a16:creationId xmlns:a16="http://schemas.microsoft.com/office/drawing/2014/main" id="{FC0D15E3-B337-0549-B525-3F77087FC50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31405" y="208974"/>
            <a:ext cx="3774637" cy="664902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C070F02-578B-3443-B637-00D27509AA5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97C0451-24A4-DD41-B323-03E7C37034A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E1F78A4-DBDB-4267-92AD-FFB06CFE32B1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796389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Cut Out Photo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BFEC35DF-7B4B-3640-B202-6D0D3C8927A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1776" y="1610833"/>
            <a:ext cx="4163676" cy="2781331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29A6456-0C45-5243-BC7D-3EBF863AF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9DAEB0D-D158-EE40-8A18-ED68A560B4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1F67C15-23BB-C34D-984B-365C6144B85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1264048-8683-B04A-BE92-365764B758F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86920" y="296944"/>
            <a:ext cx="3898532" cy="618005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2F55B74-8AE2-2F4C-A8CC-7002F18140F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964E4DA-CF8C-5245-BEE4-F59B1938DEC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86C8F39-AC74-4106-A1AE-01B8F6D9634C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124740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Cut Out Photo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Background pattern, rectangle&#10;&#10;Description automatically generated">
            <a:extLst>
              <a:ext uri="{FF2B5EF4-FFF2-40B4-BE49-F238E27FC236}">
                <a16:creationId xmlns:a16="http://schemas.microsoft.com/office/drawing/2014/main" id="{E8930F7D-FC4C-B545-BF55-6C2F96ED1D7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1776" y="1610833"/>
            <a:ext cx="4163676" cy="2781331"/>
          </a:xfrm>
          <a:prstGeom prst="rect">
            <a:avLst/>
          </a:prstGeom>
        </p:spPr>
      </p:pic>
      <p:pic>
        <p:nvPicPr>
          <p:cNvPr id="22" name="Picture 21" descr="A person holding a phone&#10;&#10;Description automatically generated with medium confidence">
            <a:extLst>
              <a:ext uri="{FF2B5EF4-FFF2-40B4-BE49-F238E27FC236}">
                <a16:creationId xmlns:a16="http://schemas.microsoft.com/office/drawing/2014/main" id="{7CF29D7B-D274-A24D-9456-1D142F993F1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11528" y="734453"/>
            <a:ext cx="3702286" cy="6123547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A4B0D38C-5191-2A46-A65F-EB152D0EE1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10833"/>
            <a:ext cx="5486400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FAD9EF4-BFE4-544D-89ED-637CA0828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2647860"/>
            <a:ext cx="5486399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EF24CA7-7CB8-2447-9C3C-B88313F9FBC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3" y="385590"/>
            <a:ext cx="836212" cy="270932"/>
          </a:xfrm>
          <a:prstGeom prst="rect">
            <a:avLst/>
          </a:prstGeom>
        </p:spPr>
      </p:pic>
      <p:pic>
        <p:nvPicPr>
          <p:cNvPr id="23" name="Picture 22" descr="A picture containing person, dog&#10;&#10;Description automatically generated">
            <a:extLst>
              <a:ext uri="{FF2B5EF4-FFF2-40B4-BE49-F238E27FC236}">
                <a16:creationId xmlns:a16="http://schemas.microsoft.com/office/drawing/2014/main" id="{30F7D106-CE35-E242-B8C0-5B06D3A2CE6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7833" y="3909462"/>
            <a:ext cx="2726676" cy="278133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1094A0A-76A3-1B45-9EF1-EF4320A30CC7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F4E884-A953-F146-98F1-8B4C5B6833E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A3DEAE8-4A72-4BCE-B4E2-12326ADEF205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233044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­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3708F72-9177-1C4A-B014-F0C6B19AB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C3D2448-008D-704E-B888-D8E863B403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3EB1792-DD80-214E-9375-EE70AE1BB6B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06F69B3-EAF8-AD4A-A506-57425CC3FBBF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D4F06E-0767-9446-A975-422A8E49DAA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B89775-FC9C-4A6C-8F15-A47A5CCABCA3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763525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 - with Ic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076C857-6C05-8E4F-89DE-4C6A9CEA50B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B4CD84E1-A716-784A-BEDC-3F776D13EC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5F9A24A-091B-1847-A8CD-FA05E6DF03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8FA1B8AC-487C-49C6-B84A-CD69B74EDE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208008" y="3835908"/>
            <a:ext cx="2374392" cy="237439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D319C69-C7DB-B842-A288-4B78C966A26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94403A-163E-2F49-B354-92394604048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990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FAEF6FF-624F-F941-8333-F016E751BE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E27E99B-5241-0942-B27C-8DC37A0E3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8F6A2D3-237C-B142-BB6C-D1D674B692C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E83F0A4-A2E0-234F-9735-E801C5099329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5DD0A7-9B3F-B445-B3E3-DCBA18FD692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790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­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3708F72-9177-1C4A-B014-F0C6B19AB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C3D2448-008D-704E-B888-D8E863B403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3EB1792-DD80-214E-9375-EE70AE1BB6B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4D4F06E-0767-9446-A975-422A8E49DAA1}"/>
              </a:ext>
            </a:extLst>
          </p:cNvPr>
          <p:cNvSpPr txBox="1"/>
          <p:nvPr/>
        </p:nvSpPr>
        <p:spPr>
          <a:xfrm>
            <a:off x="11377692" y="6577436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B89775-FC9C-4A6C-8F15-A47A5CCABCA3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441506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 - VBM+Symb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653EF4D2-FA1F-824F-9159-013422D09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accent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D0E9125-603C-FE4B-9FE5-B2CDA2CFBD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75FF374-CE84-874F-AD2F-DEC1ADE14B1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0F52965-CEEE-2C41-AD99-92F2BDAE802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E4A174-513B-AF43-8972-1BF7BACDE2E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533885-FB97-4BC6-993A-9DC5563047FB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0481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B023C5D-F5CC-44FA-834F-43851B9A10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43EE40-5826-477B-BEEF-B50E81BADC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3463FD-6F8E-41D2-B867-102704C5E9FC}"/>
              </a:ext>
            </a:extLst>
          </p:cNvPr>
          <p:cNvCxnSpPr>
            <a:cxnSpLocks/>
          </p:cNvCxnSpPr>
          <p:nvPr/>
        </p:nvCxnSpPr>
        <p:spPr>
          <a:xfrm>
            <a:off x="6096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843B257-7F12-4633-9525-3B6D2C5C29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884D96D-3DE4-40B0-90D8-B5918CF1D0E8}"/>
              </a:ext>
            </a:extLst>
          </p:cNvPr>
          <p:cNvCxnSpPr>
            <a:cxnSpLocks/>
          </p:cNvCxnSpPr>
          <p:nvPr/>
        </p:nvCxnSpPr>
        <p:spPr>
          <a:xfrm>
            <a:off x="3454400" y="2521444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5176D7D-6355-4FF3-9137-FC5B3D8B65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5426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7B4ED28-009B-4D27-8603-E737D3353D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2F40EFA-7CFE-412F-9670-84A0FD0AAAD2}"/>
              </a:ext>
            </a:extLst>
          </p:cNvPr>
          <p:cNvCxnSpPr>
            <a:cxnSpLocks/>
          </p:cNvCxnSpPr>
          <p:nvPr/>
        </p:nvCxnSpPr>
        <p:spPr>
          <a:xfrm>
            <a:off x="90932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0EAEBC3-D403-4863-B94C-5BA28D11A2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0BF9787-757D-4D4A-9D39-36E4F20150F8}"/>
              </a:ext>
            </a:extLst>
          </p:cNvPr>
          <p:cNvCxnSpPr>
            <a:cxnSpLocks/>
          </p:cNvCxnSpPr>
          <p:nvPr/>
        </p:nvCxnSpPr>
        <p:spPr>
          <a:xfrm>
            <a:off x="6096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39AED03-861E-49F5-9486-9875D7F325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54400" y="3962591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6A4D639-35EE-4A75-9D5D-F5D68D810241}"/>
              </a:ext>
            </a:extLst>
          </p:cNvPr>
          <p:cNvCxnSpPr>
            <a:cxnSpLocks/>
          </p:cNvCxnSpPr>
          <p:nvPr/>
        </p:nvCxnSpPr>
        <p:spPr>
          <a:xfrm>
            <a:off x="3454400" y="4916821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191B399-15E8-4E18-95CE-9D88E07F66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5423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9BE4E74-7BEC-498B-AB83-0C7C20ED890A}"/>
              </a:ext>
            </a:extLst>
          </p:cNvPr>
          <p:cNvCxnSpPr>
            <a:cxnSpLocks/>
          </p:cNvCxnSpPr>
          <p:nvPr/>
        </p:nvCxnSpPr>
        <p:spPr>
          <a:xfrm>
            <a:off x="6295423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92CC6EC-3B35-4B15-8ECF-71827B4F797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932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A28FED9-B6B8-4348-BFC2-E292A6FB0FCF}"/>
              </a:ext>
            </a:extLst>
          </p:cNvPr>
          <p:cNvCxnSpPr>
            <a:cxnSpLocks/>
          </p:cNvCxnSpPr>
          <p:nvPr/>
        </p:nvCxnSpPr>
        <p:spPr>
          <a:xfrm>
            <a:off x="90932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Content Placeholder 2">
            <a:extLst>
              <a:ext uri="{FF2B5EF4-FFF2-40B4-BE49-F238E27FC236}">
                <a16:creationId xmlns:a16="http://schemas.microsoft.com/office/drawing/2014/main" id="{11899807-858E-4003-8BDF-4015E542845B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609600" y="2643202"/>
            <a:ext cx="247828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6" name="Content Placeholder 2">
            <a:extLst>
              <a:ext uri="{FF2B5EF4-FFF2-40B4-BE49-F238E27FC236}">
                <a16:creationId xmlns:a16="http://schemas.microsoft.com/office/drawing/2014/main" id="{8713D4C8-925C-4E15-9DF9-AB425817C32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454400" y="2643208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7" name="Content Placeholder 2">
            <a:extLst>
              <a:ext uri="{FF2B5EF4-FFF2-40B4-BE49-F238E27FC236}">
                <a16:creationId xmlns:a16="http://schemas.microsoft.com/office/drawing/2014/main" id="{7EDB3C1E-C224-4411-B608-25ABA2658B70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6295426" y="2643202"/>
            <a:ext cx="2489197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8" name="Content Placeholder 2">
            <a:extLst>
              <a:ext uri="{FF2B5EF4-FFF2-40B4-BE49-F238E27FC236}">
                <a16:creationId xmlns:a16="http://schemas.microsoft.com/office/drawing/2014/main" id="{601DD3FF-8D08-49F7-97A5-81CD5390891E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9093200" y="2643202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9" name="Content Placeholder 2">
            <a:extLst>
              <a:ext uri="{FF2B5EF4-FFF2-40B4-BE49-F238E27FC236}">
                <a16:creationId xmlns:a16="http://schemas.microsoft.com/office/drawing/2014/main" id="{E6F0E1CC-E3A5-476C-B9BD-8E55B73C912E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09600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Content Placeholder 2">
            <a:extLst>
              <a:ext uri="{FF2B5EF4-FFF2-40B4-BE49-F238E27FC236}">
                <a16:creationId xmlns:a16="http://schemas.microsoft.com/office/drawing/2014/main" id="{6CA859C0-8CC8-4AD9-A9BC-64F1FC91D711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454400" y="5024160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1" name="Content Placeholder 2">
            <a:extLst>
              <a:ext uri="{FF2B5EF4-FFF2-40B4-BE49-F238E27FC236}">
                <a16:creationId xmlns:a16="http://schemas.microsoft.com/office/drawing/2014/main" id="{BBD7B664-2D47-45FC-8170-499D24E52CD3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6295423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2" name="Content Placeholder 2">
            <a:extLst>
              <a:ext uri="{FF2B5EF4-FFF2-40B4-BE49-F238E27FC236}">
                <a16:creationId xmlns:a16="http://schemas.microsoft.com/office/drawing/2014/main" id="{7C76208B-5543-46CF-A9E2-FACFA2214379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9089423" y="5007399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1B229B7-1E51-4DB5-8A87-EA006CA75597}"/>
              </a:ext>
            </a:extLst>
          </p:cNvPr>
          <p:cNvCxnSpPr>
            <a:cxnSpLocks/>
          </p:cNvCxnSpPr>
          <p:nvPr/>
        </p:nvCxnSpPr>
        <p:spPr>
          <a:xfrm>
            <a:off x="6295426" y="2521444"/>
            <a:ext cx="248919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D076AD15-8A80-4D5C-99D2-930048D9981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CA210-CD82-4973-86C5-C81EDE5EA83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877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84">
          <p15:clr>
            <a:srgbClr val="FBAE40"/>
          </p15:clr>
        </p15:guide>
        <p15:guide id="16" pos="3744">
          <p15:clr>
            <a:srgbClr val="FBAE40"/>
          </p15:clr>
        </p15:guide>
        <p15:guide id="17" pos="3960">
          <p15:clr>
            <a:srgbClr val="FBAE40"/>
          </p15:clr>
        </p15:guide>
        <p15:guide id="18" pos="5520">
          <p15:clr>
            <a:srgbClr val="FBAE40"/>
          </p15:clr>
        </p15:guide>
        <p15:guide id="19" pos="573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6B01A99-F0E4-4F6A-9814-CECDD9DC96F6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38B7B0-D097-7C40-B18F-DF9854A1FD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1600200"/>
            <a:ext cx="8155179" cy="3714750"/>
          </a:xfr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Visa Dialect Regular 18pt</a:t>
            </a:r>
          </a:p>
          <a:p>
            <a:pPr lvl="0"/>
            <a:r>
              <a:rPr lang="en-US"/>
              <a:t>Items are automatically numbered</a:t>
            </a:r>
          </a:p>
          <a:p>
            <a:pPr lvl="0"/>
            <a:r>
              <a:rPr lang="en-US"/>
              <a:t>If needed, use the Numbering button on the Home tab to turn off numbers.</a:t>
            </a:r>
          </a:p>
          <a:p>
            <a:pPr lvl="0"/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51B0AD-0CB2-A048-A80E-79B8AB9DC5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902A4BD-9D83-44B2-ACE3-88F0098F377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D9AF42-CC7A-4B9F-B211-4FF9B1A9EA7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" name="Rectangle 82">
            <a:extLst>
              <a:ext uri="{FF2B5EF4-FFF2-40B4-BE49-F238E27FC236}">
                <a16:creationId xmlns:a16="http://schemas.microsoft.com/office/drawing/2014/main" id="{322C608D-B61C-354C-133D-0F9920245B9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E74C54A-B72F-9C81-6973-8E129F45E2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433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pos="5520">
          <p15:clr>
            <a:srgbClr val="FBAE40"/>
          </p15:clr>
        </p15:guide>
        <p15:guide id="22" pos="57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B796B2-E9E7-4A1D-AD60-1EB8C21CF2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B3BD4A8-0E52-4FFD-81E5-4667BBF1EFC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B95E950-296F-E542-B8F2-E86E8C26F9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341839-DFD3-DC46-B0B1-748514F6A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1E25E2-478B-4A61-B489-BCCB76E32FA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D9929F-8F44-4512-A3C5-4A94AA39173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058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8A5BA51-F084-46F7-93C2-7B53463A69A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8FFAC3C-0074-FE4C-A801-A8774F5415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EA814F0-7225-EE49-AEEB-8D88CDE9E2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8E4219-BF8A-EF4A-A133-8697CB3D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9DDFC30-4C35-4FFE-B78F-CC6778ACBCB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8ED936E-64AB-439B-98BB-2235A783FB7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697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19E6CA2-344D-4DE3-AED7-2763D00E6F2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5B45E48-5A8A-7C43-968E-E1237A2CF6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E458D01-2E76-4D49-95E3-8329F9C32E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821AC90-4858-944A-AAA3-8FB5B5B21A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1F327F-1FC5-4766-BD46-CC371BD2A4C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564589-4D8E-4B07-B6EF-C13FC69FF19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668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4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0CB6150-C0E7-4A2D-82C2-2A7C8BF43AD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CB1B974-08D3-AB49-86CE-CCE82104A9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DFFAE56-C962-6C4A-AD68-F109E1F4C0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67E79CE-AD17-A442-A7EE-EEA5858FBA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D4241A-A15C-479B-B2A0-F40EAD45853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0CD241-C7A6-4F00-9726-06138E6089B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5502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5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7BAF715-EBE8-446C-91FD-813ACDD79FA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77865E-7ADA-7C48-AC7C-7BD23AFA87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B5A86F8-9249-2941-BCE8-3144DCB36D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B89671E-C5A3-AC49-961F-0681EA7A7A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00655D-D26A-4756-9390-58205F822B2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771495-DD2C-4133-A19E-D2FC4E0161A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89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6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10B0A4C-A4E3-4EFF-811D-C8F7F71DDAD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3B9DD37-5DFE-4A41-8FA8-34800D0AD8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CC9C687-5164-DD4B-905F-8D9278B64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1DCF08D-7562-D34D-A3B4-44FC665F46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89084A-677C-4667-80CD-ACE9A503F27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18D356-C67E-4C15-9A94-5289D723453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9347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7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882F6FB-6C88-4EEE-9198-A9B87177A1B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5156B22-A2E9-B341-8510-C9C5982CFD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0F1350D-FD1E-384F-BE94-2292ED259F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64FC454-9417-9341-BB90-0BEC752290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6F9526-02BF-4F7A-B3A0-57215B91A51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D776A7-A108-4986-8E36-1A1B07036F5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795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 - with Ic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076C857-6C05-8E4F-89DE-4C6A9CEA50B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B4CD84E1-A716-784A-BEDC-3F776D13EC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5F9A24A-091B-1847-A8CD-FA05E6DF03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8FA1B8AC-487C-49C6-B84A-CD69B74EDE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208008" y="3835908"/>
            <a:ext cx="2374392" cy="237439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894403A-163E-2F49-B354-92394604048F}"/>
              </a:ext>
            </a:extLst>
          </p:cNvPr>
          <p:cNvSpPr txBox="1"/>
          <p:nvPr/>
        </p:nvSpPr>
        <p:spPr>
          <a:xfrm>
            <a:off x="11387579" y="6577436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942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8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34E0250-7EA6-A14E-85A2-70CC7AF598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FB486BD-B31D-2746-A2D9-D74A5612C6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9B97EB1-495E-7643-8ACA-13F7587376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DDD1-E673-413B-ABF2-1F205D7C233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405CC88-5C99-4116-8382-D1031391C5A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E749602-2703-420C-8E06-C21DD3AB922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299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Text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EF2D28D-835D-674E-9C16-1E2C9608E6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63B2BCD-5F69-8D43-8F89-629C13FC6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ECA1875B-428C-074B-81DA-1C09468F0A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4CF6F7F-687B-4B57-8E8F-5B349EA3B32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5263A8-6FCF-4763-8B81-709E07B3599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721066-D14F-4982-A518-C5F7B7B5C6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691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&amp;A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A96E994-B347-4526-B8DE-2F0DEE90471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9A7E0F-7DCB-4BBC-8865-65F8E448C5E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73FA28E-F3AC-4BE0-AD63-18713F88303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805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&amp;A - Whit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65FE600-6E90-41CA-925C-7248AED93E6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115DBC-2B4F-4AA2-867E-80D7D554C07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6786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" name="Rectangle 82">
            <a:extLst>
              <a:ext uri="{FF2B5EF4-FFF2-40B4-BE49-F238E27FC236}">
                <a16:creationId xmlns:a16="http://schemas.microsoft.com/office/drawing/2014/main" id="{7A8220E6-EDC1-E2F8-8CCE-D3B1E044EB2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46C9BDB-E7E4-CB24-B0A8-4AA9D5F624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316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5CE4F260-2609-CE54-732B-DDCF97AD01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8939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5CE4F260-2609-CE54-732B-DDCF97AD01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0AEBB67-1858-8045-8897-E60ACC3C616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4826C0C-2EDB-488A-8715-85AF64027CCD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785AC-4A3E-4F1C-B384-9A61E41DFD2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8" name="Text Placeholder 31">
            <a:extLst>
              <a:ext uri="{FF2B5EF4-FFF2-40B4-BE49-F238E27FC236}">
                <a16:creationId xmlns:a16="http://schemas.microsoft.com/office/drawing/2014/main" id="{63ECD3FC-B883-6491-0D95-23E23A27394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636701"/>
            <a:ext cx="6065559" cy="1622425"/>
          </a:xfrm>
        </p:spPr>
        <p:txBody>
          <a:bodyPr/>
          <a:lstStyle>
            <a:lvl1pPr marL="171450" indent="-171450">
              <a:spcBef>
                <a:spcPts val="3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  <p:sp>
        <p:nvSpPr>
          <p:cNvPr id="19" name="Text Placeholder 31">
            <a:extLst>
              <a:ext uri="{FF2B5EF4-FFF2-40B4-BE49-F238E27FC236}">
                <a16:creationId xmlns:a16="http://schemas.microsoft.com/office/drawing/2014/main" id="{9927CA25-8082-E518-E1F0-67907B7FE37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3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  <p:sp>
        <p:nvSpPr>
          <p:cNvPr id="23" name="Rectangle 82">
            <a:extLst>
              <a:ext uri="{FF2B5EF4-FFF2-40B4-BE49-F238E27FC236}">
                <a16:creationId xmlns:a16="http://schemas.microsoft.com/office/drawing/2014/main" id="{723B0AD3-4DFA-0C20-8F85-F56BBAD8361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523EA64A-8DC5-97E6-B4C3-DEFFAEF94D2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4226090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  <p15:guide id="5" pos="5736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BD94BD7-12E0-4039-A6BE-706E15DF6B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952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BD94BD7-12E0-4039-A6BE-706E15DF6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0751AB5-BCE2-3A48-AB2B-81D2957752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4009E6-8C8C-4F63-8386-915350D1F6B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3475BE-34FA-478E-A50B-B89C4195AD5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3" name="Rectangle 82">
            <a:extLst>
              <a:ext uri="{FF2B5EF4-FFF2-40B4-BE49-F238E27FC236}">
                <a16:creationId xmlns:a16="http://schemas.microsoft.com/office/drawing/2014/main" id="{D5767EE1-FD5C-DB78-4174-4AEB17E4A72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08E3B7D-84C6-50FA-97C7-96A7486AA4B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674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 -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01841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0751AB5-BCE2-3A48-AB2B-81D2957752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4009E6-8C8C-4F63-8386-915350D1F6B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3475BE-34FA-478E-A50B-B89C4195AD5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6352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mber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9CE45557-2782-1C4D-9649-89829803926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599" y="1600200"/>
            <a:ext cx="8153401" cy="4610100"/>
          </a:xfrm>
        </p:spPr>
        <p:txBody>
          <a:bodyPr>
            <a:noAutofit/>
          </a:bodyPr>
          <a:lstStyle>
            <a:lvl1pPr marL="230188" indent="-230188">
              <a:lnSpc>
                <a:spcPct val="100000"/>
              </a:lnSpc>
              <a:spcBef>
                <a:spcPts val="1200"/>
              </a:spcBef>
              <a:spcAft>
                <a:spcPts val="800"/>
              </a:spcAft>
              <a:buFont typeface="+mj-lt"/>
              <a:buAutoNum type="arabicPeriod"/>
              <a:tabLst/>
              <a:defRPr sz="1600">
                <a:solidFill>
                  <a:schemeClr val="accent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/>
            </a:lvl2pPr>
            <a:lvl3pPr marL="4572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3pPr>
            <a:lvl4pPr marL="6858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edit numbering text styles</a:t>
            </a:r>
          </a:p>
          <a:p>
            <a:pPr lvl="2"/>
            <a:r>
              <a:rPr lang="en-US"/>
              <a:t>Second bullet level</a:t>
            </a:r>
          </a:p>
          <a:p>
            <a:pPr lvl="3"/>
            <a:r>
              <a:rPr lang="en-US"/>
              <a:t>Third bullet 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9B99707-631C-504C-957F-75DF92D4259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C748D62-F2B5-2B4A-9E6A-987900DA44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809BF2C-89DA-40FC-BDB4-F9F2327BD1B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B1CCE4-8767-470D-8DDB-B0AB133458C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069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-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98EDF07-72EA-CE41-A35E-2CE9B7FCED0C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5636F92-56A3-4048-9234-A4D4D6B1402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09600" y="1600200"/>
            <a:ext cx="10972800" cy="4610100"/>
          </a:xfrm>
        </p:spPr>
        <p:txBody>
          <a:bodyPr>
            <a:noAutofit/>
          </a:bodyPr>
          <a:lstStyle>
            <a:lvl1pPr marL="514350" marR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3200" b="0" i="0">
                <a:solidFill>
                  <a:schemeClr val="tx1"/>
                </a:solidFill>
                <a:latin typeface="Visa Dialect Medium" pitchFamily="2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05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05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5pPr>
            <a:lvl6pPr marL="685800" indent="-176213">
              <a:tabLst/>
              <a:defRPr sz="1050"/>
            </a:lvl6pPr>
          </a:lstStyle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  <a:p>
            <a:pPr marL="5143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Second level</a:t>
            </a:r>
          </a:p>
          <a:p>
            <a:pPr marL="514350" marR="0" lvl="2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Third level</a:t>
            </a:r>
          </a:p>
          <a:p>
            <a:pPr marL="514350" marR="0" lvl="3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ourth level</a:t>
            </a:r>
          </a:p>
          <a:p>
            <a:pPr marL="514350" marR="0" lvl="4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ifth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764807F4-3A5E-4790-8BFF-9F75F97358A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A80DBE0-EA23-914C-BE1F-E2E9FA549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71262D7-4155-664A-A7EF-0F6CD92AC9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62BCEA-A68A-4769-B6ED-EF217FA5B7A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538CD4-8CE7-4DB6-9772-1D3E7895B31A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65FE215-5FF4-864B-8264-06F499FAE80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</p:spTree>
    <p:extLst>
      <p:ext uri="{BB962C8B-B14F-4D97-AF65-F5344CB8AC3E}">
        <p14:creationId xmlns:p14="http://schemas.microsoft.com/office/powerpoint/2010/main" val="39192055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95.xml"/><Relationship Id="rId21" Type="http://schemas.openxmlformats.org/officeDocument/2006/relationships/slideLayout" Target="../slideLayouts/slideLayout90.xml"/><Relationship Id="rId42" Type="http://schemas.openxmlformats.org/officeDocument/2006/relationships/slideLayout" Target="../slideLayouts/slideLayout111.xml"/><Relationship Id="rId47" Type="http://schemas.openxmlformats.org/officeDocument/2006/relationships/slideLayout" Target="../slideLayouts/slideLayout116.xml"/><Relationship Id="rId63" Type="http://schemas.openxmlformats.org/officeDocument/2006/relationships/slideLayout" Target="../slideLayouts/slideLayout132.xml"/><Relationship Id="rId68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80.xml"/><Relationship Id="rId32" Type="http://schemas.openxmlformats.org/officeDocument/2006/relationships/slideLayout" Target="../slideLayouts/slideLayout101.xml"/><Relationship Id="rId37" Type="http://schemas.openxmlformats.org/officeDocument/2006/relationships/slideLayout" Target="../slideLayouts/slideLayout106.xml"/><Relationship Id="rId53" Type="http://schemas.openxmlformats.org/officeDocument/2006/relationships/slideLayout" Target="../slideLayouts/slideLayout122.xml"/><Relationship Id="rId58" Type="http://schemas.openxmlformats.org/officeDocument/2006/relationships/slideLayout" Target="../slideLayouts/slideLayout127.xml"/><Relationship Id="rId74" Type="http://schemas.openxmlformats.org/officeDocument/2006/relationships/slideLayout" Target="../slideLayouts/slideLayout143.xml"/><Relationship Id="rId79" Type="http://schemas.openxmlformats.org/officeDocument/2006/relationships/tags" Target="../tags/tag6.xml"/><Relationship Id="rId5" Type="http://schemas.openxmlformats.org/officeDocument/2006/relationships/slideLayout" Target="../slideLayouts/slideLayout74.xml"/><Relationship Id="rId61" Type="http://schemas.openxmlformats.org/officeDocument/2006/relationships/slideLayout" Target="../slideLayouts/slideLayout130.xml"/><Relationship Id="rId82" Type="http://schemas.openxmlformats.org/officeDocument/2006/relationships/image" Target="../media/image2.png"/><Relationship Id="rId1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83.xml"/><Relationship Id="rId22" Type="http://schemas.openxmlformats.org/officeDocument/2006/relationships/slideLayout" Target="../slideLayouts/slideLayout91.xml"/><Relationship Id="rId27" Type="http://schemas.openxmlformats.org/officeDocument/2006/relationships/slideLayout" Target="../slideLayouts/slideLayout96.xml"/><Relationship Id="rId30" Type="http://schemas.openxmlformats.org/officeDocument/2006/relationships/slideLayout" Target="../slideLayouts/slideLayout99.xml"/><Relationship Id="rId35" Type="http://schemas.openxmlformats.org/officeDocument/2006/relationships/slideLayout" Target="../slideLayouts/slideLayout104.xml"/><Relationship Id="rId43" Type="http://schemas.openxmlformats.org/officeDocument/2006/relationships/slideLayout" Target="../slideLayouts/slideLayout112.xml"/><Relationship Id="rId48" Type="http://schemas.openxmlformats.org/officeDocument/2006/relationships/slideLayout" Target="../slideLayouts/slideLayout117.xml"/><Relationship Id="rId56" Type="http://schemas.openxmlformats.org/officeDocument/2006/relationships/slideLayout" Target="../slideLayouts/slideLayout125.xml"/><Relationship Id="rId64" Type="http://schemas.openxmlformats.org/officeDocument/2006/relationships/slideLayout" Target="../slideLayouts/slideLayout133.xml"/><Relationship Id="rId69" Type="http://schemas.openxmlformats.org/officeDocument/2006/relationships/slideLayout" Target="../slideLayouts/slideLayout138.xml"/><Relationship Id="rId77" Type="http://schemas.openxmlformats.org/officeDocument/2006/relationships/slideLayout" Target="../slideLayouts/slideLayout146.xml"/><Relationship Id="rId8" Type="http://schemas.openxmlformats.org/officeDocument/2006/relationships/slideLayout" Target="../slideLayouts/slideLayout77.xml"/><Relationship Id="rId51" Type="http://schemas.openxmlformats.org/officeDocument/2006/relationships/slideLayout" Target="../slideLayouts/slideLayout120.xml"/><Relationship Id="rId72" Type="http://schemas.openxmlformats.org/officeDocument/2006/relationships/slideLayout" Target="../slideLayouts/slideLayout141.xml"/><Relationship Id="rId80" Type="http://schemas.openxmlformats.org/officeDocument/2006/relationships/oleObject" Target="../embeddings/oleObject5.bin"/><Relationship Id="rId3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slideLayout" Target="../slideLayouts/slideLayout94.xml"/><Relationship Id="rId33" Type="http://schemas.openxmlformats.org/officeDocument/2006/relationships/slideLayout" Target="../slideLayouts/slideLayout102.xml"/><Relationship Id="rId38" Type="http://schemas.openxmlformats.org/officeDocument/2006/relationships/slideLayout" Target="../slideLayouts/slideLayout107.xml"/><Relationship Id="rId46" Type="http://schemas.openxmlformats.org/officeDocument/2006/relationships/slideLayout" Target="../slideLayouts/slideLayout115.xml"/><Relationship Id="rId59" Type="http://schemas.openxmlformats.org/officeDocument/2006/relationships/slideLayout" Target="../slideLayouts/slideLayout128.xml"/><Relationship Id="rId67" Type="http://schemas.openxmlformats.org/officeDocument/2006/relationships/slideLayout" Target="../slideLayouts/slideLayout136.xml"/><Relationship Id="rId20" Type="http://schemas.openxmlformats.org/officeDocument/2006/relationships/slideLayout" Target="../slideLayouts/slideLayout89.xml"/><Relationship Id="rId41" Type="http://schemas.openxmlformats.org/officeDocument/2006/relationships/slideLayout" Target="../slideLayouts/slideLayout110.xml"/><Relationship Id="rId54" Type="http://schemas.openxmlformats.org/officeDocument/2006/relationships/slideLayout" Target="../slideLayouts/slideLayout123.xml"/><Relationship Id="rId62" Type="http://schemas.openxmlformats.org/officeDocument/2006/relationships/slideLayout" Target="../slideLayouts/slideLayout131.xml"/><Relationship Id="rId70" Type="http://schemas.openxmlformats.org/officeDocument/2006/relationships/slideLayout" Target="../slideLayouts/slideLayout139.xml"/><Relationship Id="rId75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4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36" Type="http://schemas.openxmlformats.org/officeDocument/2006/relationships/slideLayout" Target="../slideLayouts/slideLayout105.xml"/><Relationship Id="rId49" Type="http://schemas.openxmlformats.org/officeDocument/2006/relationships/slideLayout" Target="../slideLayouts/slideLayout118.xml"/><Relationship Id="rId57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79.xml"/><Relationship Id="rId31" Type="http://schemas.openxmlformats.org/officeDocument/2006/relationships/slideLayout" Target="../slideLayouts/slideLayout100.xml"/><Relationship Id="rId44" Type="http://schemas.openxmlformats.org/officeDocument/2006/relationships/slideLayout" Target="../slideLayouts/slideLayout113.xml"/><Relationship Id="rId52" Type="http://schemas.openxmlformats.org/officeDocument/2006/relationships/slideLayout" Target="../slideLayouts/slideLayout121.xml"/><Relationship Id="rId60" Type="http://schemas.openxmlformats.org/officeDocument/2006/relationships/slideLayout" Target="../slideLayouts/slideLayout129.xml"/><Relationship Id="rId65" Type="http://schemas.openxmlformats.org/officeDocument/2006/relationships/slideLayout" Target="../slideLayouts/slideLayout134.xml"/><Relationship Id="rId73" Type="http://schemas.openxmlformats.org/officeDocument/2006/relationships/slideLayout" Target="../slideLayouts/slideLayout142.xml"/><Relationship Id="rId78" Type="http://schemas.openxmlformats.org/officeDocument/2006/relationships/theme" Target="../theme/theme2.xml"/><Relationship Id="rId81" Type="http://schemas.openxmlformats.org/officeDocument/2006/relationships/image" Target="../media/image1.emf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39" Type="http://schemas.openxmlformats.org/officeDocument/2006/relationships/slideLayout" Target="../slideLayouts/slideLayout108.xml"/><Relationship Id="rId34" Type="http://schemas.openxmlformats.org/officeDocument/2006/relationships/slideLayout" Target="../slideLayouts/slideLayout103.xml"/><Relationship Id="rId50" Type="http://schemas.openxmlformats.org/officeDocument/2006/relationships/slideLayout" Target="../slideLayouts/slideLayout119.xml"/><Relationship Id="rId55" Type="http://schemas.openxmlformats.org/officeDocument/2006/relationships/slideLayout" Target="../slideLayouts/slideLayout124.xml"/><Relationship Id="rId76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76.xml"/><Relationship Id="rId71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93.xml"/><Relationship Id="rId40" Type="http://schemas.openxmlformats.org/officeDocument/2006/relationships/slideLayout" Target="../slideLayouts/slideLayout109.xml"/><Relationship Id="rId45" Type="http://schemas.openxmlformats.org/officeDocument/2006/relationships/slideLayout" Target="../slideLayouts/slideLayout114.xml"/><Relationship Id="rId66" Type="http://schemas.openxmlformats.org/officeDocument/2006/relationships/slideLayout" Target="../slideLayouts/slideLayout135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72.xml"/><Relationship Id="rId21" Type="http://schemas.openxmlformats.org/officeDocument/2006/relationships/slideLayout" Target="../slideLayouts/slideLayout167.xml"/><Relationship Id="rId42" Type="http://schemas.openxmlformats.org/officeDocument/2006/relationships/slideLayout" Target="../slideLayouts/slideLayout188.xml"/><Relationship Id="rId47" Type="http://schemas.openxmlformats.org/officeDocument/2006/relationships/slideLayout" Target="../slideLayouts/slideLayout193.xml"/><Relationship Id="rId63" Type="http://schemas.openxmlformats.org/officeDocument/2006/relationships/slideLayout" Target="../slideLayouts/slideLayout209.xml"/><Relationship Id="rId68" Type="http://schemas.openxmlformats.org/officeDocument/2006/relationships/slideLayout" Target="../slideLayouts/slideLayout214.xml"/><Relationship Id="rId1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57.xml"/><Relationship Id="rId24" Type="http://schemas.openxmlformats.org/officeDocument/2006/relationships/slideLayout" Target="../slideLayouts/slideLayout170.xml"/><Relationship Id="rId32" Type="http://schemas.openxmlformats.org/officeDocument/2006/relationships/slideLayout" Target="../slideLayouts/slideLayout178.xml"/><Relationship Id="rId37" Type="http://schemas.openxmlformats.org/officeDocument/2006/relationships/slideLayout" Target="../slideLayouts/slideLayout183.xml"/><Relationship Id="rId40" Type="http://schemas.openxmlformats.org/officeDocument/2006/relationships/slideLayout" Target="../slideLayouts/slideLayout186.xml"/><Relationship Id="rId45" Type="http://schemas.openxmlformats.org/officeDocument/2006/relationships/slideLayout" Target="../slideLayouts/slideLayout191.xml"/><Relationship Id="rId53" Type="http://schemas.openxmlformats.org/officeDocument/2006/relationships/slideLayout" Target="../slideLayouts/slideLayout199.xml"/><Relationship Id="rId58" Type="http://schemas.openxmlformats.org/officeDocument/2006/relationships/slideLayout" Target="../slideLayouts/slideLayout204.xml"/><Relationship Id="rId66" Type="http://schemas.openxmlformats.org/officeDocument/2006/relationships/slideLayout" Target="../slideLayouts/slideLayout212.xml"/><Relationship Id="rId74" Type="http://schemas.openxmlformats.org/officeDocument/2006/relationships/slideLayout" Target="../slideLayouts/slideLayout220.xml"/><Relationship Id="rId79" Type="http://schemas.openxmlformats.org/officeDocument/2006/relationships/image" Target="../media/image2.png"/><Relationship Id="rId5" Type="http://schemas.openxmlformats.org/officeDocument/2006/relationships/slideLayout" Target="../slideLayouts/slideLayout151.xml"/><Relationship Id="rId61" Type="http://schemas.openxmlformats.org/officeDocument/2006/relationships/slideLayout" Target="../slideLayouts/slideLayout207.xml"/><Relationship Id="rId19" Type="http://schemas.openxmlformats.org/officeDocument/2006/relationships/slideLayout" Target="../slideLayouts/slideLayout165.xml"/><Relationship Id="rId14" Type="http://schemas.openxmlformats.org/officeDocument/2006/relationships/slideLayout" Target="../slideLayouts/slideLayout160.xml"/><Relationship Id="rId22" Type="http://schemas.openxmlformats.org/officeDocument/2006/relationships/slideLayout" Target="../slideLayouts/slideLayout168.xml"/><Relationship Id="rId27" Type="http://schemas.openxmlformats.org/officeDocument/2006/relationships/slideLayout" Target="../slideLayouts/slideLayout173.xml"/><Relationship Id="rId30" Type="http://schemas.openxmlformats.org/officeDocument/2006/relationships/slideLayout" Target="../slideLayouts/slideLayout176.xml"/><Relationship Id="rId35" Type="http://schemas.openxmlformats.org/officeDocument/2006/relationships/slideLayout" Target="../slideLayouts/slideLayout181.xml"/><Relationship Id="rId43" Type="http://schemas.openxmlformats.org/officeDocument/2006/relationships/slideLayout" Target="../slideLayouts/slideLayout189.xml"/><Relationship Id="rId48" Type="http://schemas.openxmlformats.org/officeDocument/2006/relationships/slideLayout" Target="../slideLayouts/slideLayout194.xml"/><Relationship Id="rId56" Type="http://schemas.openxmlformats.org/officeDocument/2006/relationships/slideLayout" Target="../slideLayouts/slideLayout202.xml"/><Relationship Id="rId64" Type="http://schemas.openxmlformats.org/officeDocument/2006/relationships/slideLayout" Target="../slideLayouts/slideLayout210.xml"/><Relationship Id="rId69" Type="http://schemas.openxmlformats.org/officeDocument/2006/relationships/slideLayout" Target="../slideLayouts/slideLayout215.xml"/><Relationship Id="rId77" Type="http://schemas.openxmlformats.org/officeDocument/2006/relationships/oleObject" Target="../embeddings/oleObject16.bin"/><Relationship Id="rId8" Type="http://schemas.openxmlformats.org/officeDocument/2006/relationships/slideLayout" Target="../slideLayouts/slideLayout154.xml"/><Relationship Id="rId51" Type="http://schemas.openxmlformats.org/officeDocument/2006/relationships/slideLayout" Target="../slideLayouts/slideLayout197.xml"/><Relationship Id="rId72" Type="http://schemas.openxmlformats.org/officeDocument/2006/relationships/slideLayout" Target="../slideLayouts/slideLayout218.xml"/><Relationship Id="rId3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8.xml"/><Relationship Id="rId17" Type="http://schemas.openxmlformats.org/officeDocument/2006/relationships/slideLayout" Target="../slideLayouts/slideLayout163.xml"/><Relationship Id="rId25" Type="http://schemas.openxmlformats.org/officeDocument/2006/relationships/slideLayout" Target="../slideLayouts/slideLayout171.xml"/><Relationship Id="rId33" Type="http://schemas.openxmlformats.org/officeDocument/2006/relationships/slideLayout" Target="../slideLayouts/slideLayout179.xml"/><Relationship Id="rId38" Type="http://schemas.openxmlformats.org/officeDocument/2006/relationships/slideLayout" Target="../slideLayouts/slideLayout184.xml"/><Relationship Id="rId46" Type="http://schemas.openxmlformats.org/officeDocument/2006/relationships/slideLayout" Target="../slideLayouts/slideLayout192.xml"/><Relationship Id="rId59" Type="http://schemas.openxmlformats.org/officeDocument/2006/relationships/slideLayout" Target="../slideLayouts/slideLayout205.xml"/><Relationship Id="rId67" Type="http://schemas.openxmlformats.org/officeDocument/2006/relationships/slideLayout" Target="../slideLayouts/slideLayout213.xml"/><Relationship Id="rId20" Type="http://schemas.openxmlformats.org/officeDocument/2006/relationships/slideLayout" Target="../slideLayouts/slideLayout166.xml"/><Relationship Id="rId41" Type="http://schemas.openxmlformats.org/officeDocument/2006/relationships/slideLayout" Target="../slideLayouts/slideLayout187.xml"/><Relationship Id="rId54" Type="http://schemas.openxmlformats.org/officeDocument/2006/relationships/slideLayout" Target="../slideLayouts/slideLayout200.xml"/><Relationship Id="rId62" Type="http://schemas.openxmlformats.org/officeDocument/2006/relationships/slideLayout" Target="../slideLayouts/slideLayout208.xml"/><Relationship Id="rId70" Type="http://schemas.openxmlformats.org/officeDocument/2006/relationships/slideLayout" Target="../slideLayouts/slideLayout216.xml"/><Relationship Id="rId75" Type="http://schemas.openxmlformats.org/officeDocument/2006/relationships/theme" Target="../theme/theme3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5" Type="http://schemas.openxmlformats.org/officeDocument/2006/relationships/slideLayout" Target="../slideLayouts/slideLayout161.xml"/><Relationship Id="rId23" Type="http://schemas.openxmlformats.org/officeDocument/2006/relationships/slideLayout" Target="../slideLayouts/slideLayout169.xml"/><Relationship Id="rId28" Type="http://schemas.openxmlformats.org/officeDocument/2006/relationships/slideLayout" Target="../slideLayouts/slideLayout174.xml"/><Relationship Id="rId36" Type="http://schemas.openxmlformats.org/officeDocument/2006/relationships/slideLayout" Target="../slideLayouts/slideLayout182.xml"/><Relationship Id="rId49" Type="http://schemas.openxmlformats.org/officeDocument/2006/relationships/slideLayout" Target="../slideLayouts/slideLayout195.xml"/><Relationship Id="rId57" Type="http://schemas.openxmlformats.org/officeDocument/2006/relationships/slideLayout" Target="../slideLayouts/slideLayout203.xml"/><Relationship Id="rId10" Type="http://schemas.openxmlformats.org/officeDocument/2006/relationships/slideLayout" Target="../slideLayouts/slideLayout156.xml"/><Relationship Id="rId31" Type="http://schemas.openxmlformats.org/officeDocument/2006/relationships/slideLayout" Target="../slideLayouts/slideLayout177.xml"/><Relationship Id="rId44" Type="http://schemas.openxmlformats.org/officeDocument/2006/relationships/slideLayout" Target="../slideLayouts/slideLayout190.xml"/><Relationship Id="rId52" Type="http://schemas.openxmlformats.org/officeDocument/2006/relationships/slideLayout" Target="../slideLayouts/slideLayout198.xml"/><Relationship Id="rId60" Type="http://schemas.openxmlformats.org/officeDocument/2006/relationships/slideLayout" Target="../slideLayouts/slideLayout206.xml"/><Relationship Id="rId65" Type="http://schemas.openxmlformats.org/officeDocument/2006/relationships/slideLayout" Target="../slideLayouts/slideLayout211.xml"/><Relationship Id="rId73" Type="http://schemas.openxmlformats.org/officeDocument/2006/relationships/slideLayout" Target="../slideLayouts/slideLayout219.xml"/><Relationship Id="rId78" Type="http://schemas.openxmlformats.org/officeDocument/2006/relationships/image" Target="../media/image1.emf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3" Type="http://schemas.openxmlformats.org/officeDocument/2006/relationships/slideLayout" Target="../slideLayouts/slideLayout159.xml"/><Relationship Id="rId18" Type="http://schemas.openxmlformats.org/officeDocument/2006/relationships/slideLayout" Target="../slideLayouts/slideLayout164.xml"/><Relationship Id="rId39" Type="http://schemas.openxmlformats.org/officeDocument/2006/relationships/slideLayout" Target="../slideLayouts/slideLayout185.xml"/><Relationship Id="rId34" Type="http://schemas.openxmlformats.org/officeDocument/2006/relationships/slideLayout" Target="../slideLayouts/slideLayout180.xml"/><Relationship Id="rId50" Type="http://schemas.openxmlformats.org/officeDocument/2006/relationships/slideLayout" Target="../slideLayouts/slideLayout196.xml"/><Relationship Id="rId55" Type="http://schemas.openxmlformats.org/officeDocument/2006/relationships/slideLayout" Target="../slideLayouts/slideLayout201.xml"/><Relationship Id="rId76" Type="http://schemas.openxmlformats.org/officeDocument/2006/relationships/tags" Target="../tags/tag20.xml"/><Relationship Id="rId7" Type="http://schemas.openxmlformats.org/officeDocument/2006/relationships/slideLayout" Target="../slideLayouts/slideLayout153.xml"/><Relationship Id="rId71" Type="http://schemas.openxmlformats.org/officeDocument/2006/relationships/slideLayout" Target="../slideLayouts/slideLayout217.xml"/><Relationship Id="rId2" Type="http://schemas.openxmlformats.org/officeDocument/2006/relationships/slideLayout" Target="../slideLayouts/slideLayout148.xml"/><Relationship Id="rId29" Type="http://schemas.openxmlformats.org/officeDocument/2006/relationships/slideLayout" Target="../slideLayouts/slideLayout175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46.xml"/><Relationship Id="rId21" Type="http://schemas.openxmlformats.org/officeDocument/2006/relationships/slideLayout" Target="../slideLayouts/slideLayout241.xml"/><Relationship Id="rId34" Type="http://schemas.openxmlformats.org/officeDocument/2006/relationships/slideLayout" Target="../slideLayouts/slideLayout254.xml"/><Relationship Id="rId42" Type="http://schemas.openxmlformats.org/officeDocument/2006/relationships/slideLayout" Target="../slideLayouts/slideLayout262.xml"/><Relationship Id="rId47" Type="http://schemas.openxmlformats.org/officeDocument/2006/relationships/slideLayout" Target="../slideLayouts/slideLayout267.xml"/><Relationship Id="rId50" Type="http://schemas.openxmlformats.org/officeDocument/2006/relationships/slideLayout" Target="../slideLayouts/slideLayout270.xml"/><Relationship Id="rId55" Type="http://schemas.openxmlformats.org/officeDocument/2006/relationships/slideLayout" Target="../slideLayouts/slideLayout275.xml"/><Relationship Id="rId63" Type="http://schemas.openxmlformats.org/officeDocument/2006/relationships/theme" Target="../theme/theme4.xml"/><Relationship Id="rId7" Type="http://schemas.openxmlformats.org/officeDocument/2006/relationships/slideLayout" Target="../slideLayouts/slideLayout227.xml"/><Relationship Id="rId2" Type="http://schemas.openxmlformats.org/officeDocument/2006/relationships/slideLayout" Target="../slideLayouts/slideLayout222.xml"/><Relationship Id="rId16" Type="http://schemas.openxmlformats.org/officeDocument/2006/relationships/slideLayout" Target="../slideLayouts/slideLayout236.xml"/><Relationship Id="rId29" Type="http://schemas.openxmlformats.org/officeDocument/2006/relationships/slideLayout" Target="../slideLayouts/slideLayout249.xml"/><Relationship Id="rId11" Type="http://schemas.openxmlformats.org/officeDocument/2006/relationships/slideLayout" Target="../slideLayouts/slideLayout231.xml"/><Relationship Id="rId24" Type="http://schemas.openxmlformats.org/officeDocument/2006/relationships/slideLayout" Target="../slideLayouts/slideLayout244.xml"/><Relationship Id="rId32" Type="http://schemas.openxmlformats.org/officeDocument/2006/relationships/slideLayout" Target="../slideLayouts/slideLayout252.xml"/><Relationship Id="rId37" Type="http://schemas.openxmlformats.org/officeDocument/2006/relationships/slideLayout" Target="../slideLayouts/slideLayout257.xml"/><Relationship Id="rId40" Type="http://schemas.openxmlformats.org/officeDocument/2006/relationships/slideLayout" Target="../slideLayouts/slideLayout260.xml"/><Relationship Id="rId45" Type="http://schemas.openxmlformats.org/officeDocument/2006/relationships/slideLayout" Target="../slideLayouts/slideLayout265.xml"/><Relationship Id="rId53" Type="http://schemas.openxmlformats.org/officeDocument/2006/relationships/slideLayout" Target="../slideLayouts/slideLayout273.xml"/><Relationship Id="rId58" Type="http://schemas.openxmlformats.org/officeDocument/2006/relationships/slideLayout" Target="../slideLayouts/slideLayout278.xml"/><Relationship Id="rId66" Type="http://schemas.openxmlformats.org/officeDocument/2006/relationships/image" Target="../media/image46.emf"/><Relationship Id="rId5" Type="http://schemas.openxmlformats.org/officeDocument/2006/relationships/slideLayout" Target="../slideLayouts/slideLayout225.xml"/><Relationship Id="rId61" Type="http://schemas.openxmlformats.org/officeDocument/2006/relationships/slideLayout" Target="../slideLayouts/slideLayout281.xml"/><Relationship Id="rId19" Type="http://schemas.openxmlformats.org/officeDocument/2006/relationships/slideLayout" Target="../slideLayouts/slideLayout239.xml"/><Relationship Id="rId14" Type="http://schemas.openxmlformats.org/officeDocument/2006/relationships/slideLayout" Target="../slideLayouts/slideLayout234.xml"/><Relationship Id="rId22" Type="http://schemas.openxmlformats.org/officeDocument/2006/relationships/slideLayout" Target="../slideLayouts/slideLayout242.xml"/><Relationship Id="rId27" Type="http://schemas.openxmlformats.org/officeDocument/2006/relationships/slideLayout" Target="../slideLayouts/slideLayout247.xml"/><Relationship Id="rId30" Type="http://schemas.openxmlformats.org/officeDocument/2006/relationships/slideLayout" Target="../slideLayouts/slideLayout250.xml"/><Relationship Id="rId35" Type="http://schemas.openxmlformats.org/officeDocument/2006/relationships/slideLayout" Target="../slideLayouts/slideLayout255.xml"/><Relationship Id="rId43" Type="http://schemas.openxmlformats.org/officeDocument/2006/relationships/slideLayout" Target="../slideLayouts/slideLayout263.xml"/><Relationship Id="rId48" Type="http://schemas.openxmlformats.org/officeDocument/2006/relationships/slideLayout" Target="../slideLayouts/slideLayout268.xml"/><Relationship Id="rId56" Type="http://schemas.openxmlformats.org/officeDocument/2006/relationships/slideLayout" Target="../slideLayouts/slideLayout276.xml"/><Relationship Id="rId64" Type="http://schemas.openxmlformats.org/officeDocument/2006/relationships/tags" Target="../tags/tag30.xml"/><Relationship Id="rId8" Type="http://schemas.openxmlformats.org/officeDocument/2006/relationships/slideLayout" Target="../slideLayouts/slideLayout228.xml"/><Relationship Id="rId51" Type="http://schemas.openxmlformats.org/officeDocument/2006/relationships/slideLayout" Target="../slideLayouts/slideLayout271.xml"/><Relationship Id="rId3" Type="http://schemas.openxmlformats.org/officeDocument/2006/relationships/slideLayout" Target="../slideLayouts/slideLayout223.xml"/><Relationship Id="rId12" Type="http://schemas.openxmlformats.org/officeDocument/2006/relationships/slideLayout" Target="../slideLayouts/slideLayout232.xml"/><Relationship Id="rId17" Type="http://schemas.openxmlformats.org/officeDocument/2006/relationships/slideLayout" Target="../slideLayouts/slideLayout237.xml"/><Relationship Id="rId25" Type="http://schemas.openxmlformats.org/officeDocument/2006/relationships/slideLayout" Target="../slideLayouts/slideLayout245.xml"/><Relationship Id="rId33" Type="http://schemas.openxmlformats.org/officeDocument/2006/relationships/slideLayout" Target="../slideLayouts/slideLayout253.xml"/><Relationship Id="rId38" Type="http://schemas.openxmlformats.org/officeDocument/2006/relationships/slideLayout" Target="../slideLayouts/slideLayout258.xml"/><Relationship Id="rId46" Type="http://schemas.openxmlformats.org/officeDocument/2006/relationships/slideLayout" Target="../slideLayouts/slideLayout266.xml"/><Relationship Id="rId59" Type="http://schemas.openxmlformats.org/officeDocument/2006/relationships/slideLayout" Target="../slideLayouts/slideLayout279.xml"/><Relationship Id="rId20" Type="http://schemas.openxmlformats.org/officeDocument/2006/relationships/slideLayout" Target="../slideLayouts/slideLayout240.xml"/><Relationship Id="rId41" Type="http://schemas.openxmlformats.org/officeDocument/2006/relationships/slideLayout" Target="../slideLayouts/slideLayout261.xml"/><Relationship Id="rId54" Type="http://schemas.openxmlformats.org/officeDocument/2006/relationships/slideLayout" Target="../slideLayouts/slideLayout274.xml"/><Relationship Id="rId62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5" Type="http://schemas.openxmlformats.org/officeDocument/2006/relationships/slideLayout" Target="../slideLayouts/slideLayout235.xml"/><Relationship Id="rId23" Type="http://schemas.openxmlformats.org/officeDocument/2006/relationships/slideLayout" Target="../slideLayouts/slideLayout243.xml"/><Relationship Id="rId28" Type="http://schemas.openxmlformats.org/officeDocument/2006/relationships/slideLayout" Target="../slideLayouts/slideLayout248.xml"/><Relationship Id="rId36" Type="http://schemas.openxmlformats.org/officeDocument/2006/relationships/slideLayout" Target="../slideLayouts/slideLayout256.xml"/><Relationship Id="rId49" Type="http://schemas.openxmlformats.org/officeDocument/2006/relationships/slideLayout" Target="../slideLayouts/slideLayout269.xml"/><Relationship Id="rId57" Type="http://schemas.openxmlformats.org/officeDocument/2006/relationships/slideLayout" Target="../slideLayouts/slideLayout277.xml"/><Relationship Id="rId10" Type="http://schemas.openxmlformats.org/officeDocument/2006/relationships/slideLayout" Target="../slideLayouts/slideLayout230.xml"/><Relationship Id="rId31" Type="http://schemas.openxmlformats.org/officeDocument/2006/relationships/slideLayout" Target="../slideLayouts/slideLayout251.xml"/><Relationship Id="rId44" Type="http://schemas.openxmlformats.org/officeDocument/2006/relationships/slideLayout" Target="../slideLayouts/slideLayout264.xml"/><Relationship Id="rId52" Type="http://schemas.openxmlformats.org/officeDocument/2006/relationships/slideLayout" Target="../slideLayouts/slideLayout272.xml"/><Relationship Id="rId60" Type="http://schemas.openxmlformats.org/officeDocument/2006/relationships/slideLayout" Target="../slideLayouts/slideLayout280.xml"/><Relationship Id="rId65" Type="http://schemas.openxmlformats.org/officeDocument/2006/relationships/oleObject" Target="../embeddings/oleObject23.bin"/><Relationship Id="rId4" Type="http://schemas.openxmlformats.org/officeDocument/2006/relationships/slideLayout" Target="../slideLayouts/slideLayout224.xml"/><Relationship Id="rId9" Type="http://schemas.openxmlformats.org/officeDocument/2006/relationships/slideLayout" Target="../slideLayouts/slideLayout229.xml"/><Relationship Id="rId13" Type="http://schemas.openxmlformats.org/officeDocument/2006/relationships/slideLayout" Target="../slideLayouts/slideLayout233.xml"/><Relationship Id="rId18" Type="http://schemas.openxmlformats.org/officeDocument/2006/relationships/slideLayout" Target="../slideLayouts/slideLayout238.xml"/><Relationship Id="rId39" Type="http://schemas.openxmlformats.org/officeDocument/2006/relationships/slideLayout" Target="../slideLayouts/slideLayout259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08.xml"/><Relationship Id="rId21" Type="http://schemas.openxmlformats.org/officeDocument/2006/relationships/slideLayout" Target="../slideLayouts/slideLayout303.xml"/><Relationship Id="rId42" Type="http://schemas.openxmlformats.org/officeDocument/2006/relationships/slideLayout" Target="../slideLayouts/slideLayout324.xml"/><Relationship Id="rId47" Type="http://schemas.openxmlformats.org/officeDocument/2006/relationships/slideLayout" Target="../slideLayouts/slideLayout329.xml"/><Relationship Id="rId63" Type="http://schemas.openxmlformats.org/officeDocument/2006/relationships/slideLayout" Target="../slideLayouts/slideLayout345.xml"/><Relationship Id="rId68" Type="http://schemas.openxmlformats.org/officeDocument/2006/relationships/slideLayout" Target="../slideLayouts/slideLayout350.xml"/><Relationship Id="rId16" Type="http://schemas.openxmlformats.org/officeDocument/2006/relationships/slideLayout" Target="../slideLayouts/slideLayout298.xml"/><Relationship Id="rId11" Type="http://schemas.openxmlformats.org/officeDocument/2006/relationships/slideLayout" Target="../slideLayouts/slideLayout293.xml"/><Relationship Id="rId32" Type="http://schemas.openxmlformats.org/officeDocument/2006/relationships/slideLayout" Target="../slideLayouts/slideLayout314.xml"/><Relationship Id="rId37" Type="http://schemas.openxmlformats.org/officeDocument/2006/relationships/slideLayout" Target="../slideLayouts/slideLayout319.xml"/><Relationship Id="rId53" Type="http://schemas.openxmlformats.org/officeDocument/2006/relationships/slideLayout" Target="../slideLayouts/slideLayout335.xml"/><Relationship Id="rId58" Type="http://schemas.openxmlformats.org/officeDocument/2006/relationships/slideLayout" Target="../slideLayouts/slideLayout340.xml"/><Relationship Id="rId74" Type="http://schemas.openxmlformats.org/officeDocument/2006/relationships/slideLayout" Target="../slideLayouts/slideLayout356.xml"/><Relationship Id="rId79" Type="http://schemas.openxmlformats.org/officeDocument/2006/relationships/theme" Target="../theme/theme5.xml"/><Relationship Id="rId5" Type="http://schemas.openxmlformats.org/officeDocument/2006/relationships/slideLayout" Target="../slideLayouts/slideLayout287.xml"/><Relationship Id="rId61" Type="http://schemas.openxmlformats.org/officeDocument/2006/relationships/slideLayout" Target="../slideLayouts/slideLayout343.xml"/><Relationship Id="rId82" Type="http://schemas.openxmlformats.org/officeDocument/2006/relationships/image" Target="../media/image46.emf"/><Relationship Id="rId19" Type="http://schemas.openxmlformats.org/officeDocument/2006/relationships/slideLayout" Target="../slideLayouts/slideLayout301.xml"/><Relationship Id="rId14" Type="http://schemas.openxmlformats.org/officeDocument/2006/relationships/slideLayout" Target="../slideLayouts/slideLayout296.xml"/><Relationship Id="rId22" Type="http://schemas.openxmlformats.org/officeDocument/2006/relationships/slideLayout" Target="../slideLayouts/slideLayout304.xml"/><Relationship Id="rId27" Type="http://schemas.openxmlformats.org/officeDocument/2006/relationships/slideLayout" Target="../slideLayouts/slideLayout309.xml"/><Relationship Id="rId30" Type="http://schemas.openxmlformats.org/officeDocument/2006/relationships/slideLayout" Target="../slideLayouts/slideLayout312.xml"/><Relationship Id="rId35" Type="http://schemas.openxmlformats.org/officeDocument/2006/relationships/slideLayout" Target="../slideLayouts/slideLayout317.xml"/><Relationship Id="rId43" Type="http://schemas.openxmlformats.org/officeDocument/2006/relationships/slideLayout" Target="../slideLayouts/slideLayout325.xml"/><Relationship Id="rId48" Type="http://schemas.openxmlformats.org/officeDocument/2006/relationships/slideLayout" Target="../slideLayouts/slideLayout330.xml"/><Relationship Id="rId56" Type="http://schemas.openxmlformats.org/officeDocument/2006/relationships/slideLayout" Target="../slideLayouts/slideLayout338.xml"/><Relationship Id="rId64" Type="http://schemas.openxmlformats.org/officeDocument/2006/relationships/slideLayout" Target="../slideLayouts/slideLayout346.xml"/><Relationship Id="rId69" Type="http://schemas.openxmlformats.org/officeDocument/2006/relationships/slideLayout" Target="../slideLayouts/slideLayout351.xml"/><Relationship Id="rId77" Type="http://schemas.openxmlformats.org/officeDocument/2006/relationships/slideLayout" Target="../slideLayouts/slideLayout359.xml"/><Relationship Id="rId8" Type="http://schemas.openxmlformats.org/officeDocument/2006/relationships/slideLayout" Target="../slideLayouts/slideLayout290.xml"/><Relationship Id="rId51" Type="http://schemas.openxmlformats.org/officeDocument/2006/relationships/slideLayout" Target="../slideLayouts/slideLayout333.xml"/><Relationship Id="rId72" Type="http://schemas.openxmlformats.org/officeDocument/2006/relationships/slideLayout" Target="../slideLayouts/slideLayout354.xml"/><Relationship Id="rId80" Type="http://schemas.openxmlformats.org/officeDocument/2006/relationships/tags" Target="../tags/tag57.xml"/><Relationship Id="rId3" Type="http://schemas.openxmlformats.org/officeDocument/2006/relationships/slideLayout" Target="../slideLayouts/slideLayout285.xml"/><Relationship Id="rId12" Type="http://schemas.openxmlformats.org/officeDocument/2006/relationships/slideLayout" Target="../slideLayouts/slideLayout294.xml"/><Relationship Id="rId17" Type="http://schemas.openxmlformats.org/officeDocument/2006/relationships/slideLayout" Target="../slideLayouts/slideLayout299.xml"/><Relationship Id="rId25" Type="http://schemas.openxmlformats.org/officeDocument/2006/relationships/slideLayout" Target="../slideLayouts/slideLayout307.xml"/><Relationship Id="rId33" Type="http://schemas.openxmlformats.org/officeDocument/2006/relationships/slideLayout" Target="../slideLayouts/slideLayout315.xml"/><Relationship Id="rId38" Type="http://schemas.openxmlformats.org/officeDocument/2006/relationships/slideLayout" Target="../slideLayouts/slideLayout320.xml"/><Relationship Id="rId46" Type="http://schemas.openxmlformats.org/officeDocument/2006/relationships/slideLayout" Target="../slideLayouts/slideLayout328.xml"/><Relationship Id="rId59" Type="http://schemas.openxmlformats.org/officeDocument/2006/relationships/slideLayout" Target="../slideLayouts/slideLayout341.xml"/><Relationship Id="rId67" Type="http://schemas.openxmlformats.org/officeDocument/2006/relationships/slideLayout" Target="../slideLayouts/slideLayout349.xml"/><Relationship Id="rId20" Type="http://schemas.openxmlformats.org/officeDocument/2006/relationships/slideLayout" Target="../slideLayouts/slideLayout302.xml"/><Relationship Id="rId41" Type="http://schemas.openxmlformats.org/officeDocument/2006/relationships/slideLayout" Target="../slideLayouts/slideLayout323.xml"/><Relationship Id="rId54" Type="http://schemas.openxmlformats.org/officeDocument/2006/relationships/slideLayout" Target="../slideLayouts/slideLayout336.xml"/><Relationship Id="rId62" Type="http://schemas.openxmlformats.org/officeDocument/2006/relationships/slideLayout" Target="../slideLayouts/slideLayout344.xml"/><Relationship Id="rId70" Type="http://schemas.openxmlformats.org/officeDocument/2006/relationships/slideLayout" Target="../slideLayouts/slideLayout352.xml"/><Relationship Id="rId75" Type="http://schemas.openxmlformats.org/officeDocument/2006/relationships/slideLayout" Target="../slideLayouts/slideLayout357.xml"/><Relationship Id="rId1" Type="http://schemas.openxmlformats.org/officeDocument/2006/relationships/slideLayout" Target="../slideLayouts/slideLayout283.xml"/><Relationship Id="rId6" Type="http://schemas.openxmlformats.org/officeDocument/2006/relationships/slideLayout" Target="../slideLayouts/slideLayout288.xml"/><Relationship Id="rId15" Type="http://schemas.openxmlformats.org/officeDocument/2006/relationships/slideLayout" Target="../slideLayouts/slideLayout297.xml"/><Relationship Id="rId23" Type="http://schemas.openxmlformats.org/officeDocument/2006/relationships/slideLayout" Target="../slideLayouts/slideLayout305.xml"/><Relationship Id="rId28" Type="http://schemas.openxmlformats.org/officeDocument/2006/relationships/slideLayout" Target="../slideLayouts/slideLayout310.xml"/><Relationship Id="rId36" Type="http://schemas.openxmlformats.org/officeDocument/2006/relationships/slideLayout" Target="../slideLayouts/slideLayout318.xml"/><Relationship Id="rId49" Type="http://schemas.openxmlformats.org/officeDocument/2006/relationships/slideLayout" Target="../slideLayouts/slideLayout331.xml"/><Relationship Id="rId57" Type="http://schemas.openxmlformats.org/officeDocument/2006/relationships/slideLayout" Target="../slideLayouts/slideLayout339.xml"/><Relationship Id="rId10" Type="http://schemas.openxmlformats.org/officeDocument/2006/relationships/slideLayout" Target="../slideLayouts/slideLayout292.xml"/><Relationship Id="rId31" Type="http://schemas.openxmlformats.org/officeDocument/2006/relationships/slideLayout" Target="../slideLayouts/slideLayout313.xml"/><Relationship Id="rId44" Type="http://schemas.openxmlformats.org/officeDocument/2006/relationships/slideLayout" Target="../slideLayouts/slideLayout326.xml"/><Relationship Id="rId52" Type="http://schemas.openxmlformats.org/officeDocument/2006/relationships/slideLayout" Target="../slideLayouts/slideLayout334.xml"/><Relationship Id="rId60" Type="http://schemas.openxmlformats.org/officeDocument/2006/relationships/slideLayout" Target="../slideLayouts/slideLayout342.xml"/><Relationship Id="rId65" Type="http://schemas.openxmlformats.org/officeDocument/2006/relationships/slideLayout" Target="../slideLayouts/slideLayout347.xml"/><Relationship Id="rId73" Type="http://schemas.openxmlformats.org/officeDocument/2006/relationships/slideLayout" Target="../slideLayouts/slideLayout355.xml"/><Relationship Id="rId78" Type="http://schemas.openxmlformats.org/officeDocument/2006/relationships/slideLayout" Target="../slideLayouts/slideLayout360.xml"/><Relationship Id="rId81" Type="http://schemas.openxmlformats.org/officeDocument/2006/relationships/oleObject" Target="../embeddings/oleObject50.bin"/><Relationship Id="rId4" Type="http://schemas.openxmlformats.org/officeDocument/2006/relationships/slideLayout" Target="../slideLayouts/slideLayout286.xml"/><Relationship Id="rId9" Type="http://schemas.openxmlformats.org/officeDocument/2006/relationships/slideLayout" Target="../slideLayouts/slideLayout291.xml"/><Relationship Id="rId13" Type="http://schemas.openxmlformats.org/officeDocument/2006/relationships/slideLayout" Target="../slideLayouts/slideLayout295.xml"/><Relationship Id="rId18" Type="http://schemas.openxmlformats.org/officeDocument/2006/relationships/slideLayout" Target="../slideLayouts/slideLayout300.xml"/><Relationship Id="rId39" Type="http://schemas.openxmlformats.org/officeDocument/2006/relationships/slideLayout" Target="../slideLayouts/slideLayout321.xml"/><Relationship Id="rId34" Type="http://schemas.openxmlformats.org/officeDocument/2006/relationships/slideLayout" Target="../slideLayouts/slideLayout316.xml"/><Relationship Id="rId50" Type="http://schemas.openxmlformats.org/officeDocument/2006/relationships/slideLayout" Target="../slideLayouts/slideLayout332.xml"/><Relationship Id="rId55" Type="http://schemas.openxmlformats.org/officeDocument/2006/relationships/slideLayout" Target="../slideLayouts/slideLayout337.xml"/><Relationship Id="rId76" Type="http://schemas.openxmlformats.org/officeDocument/2006/relationships/slideLayout" Target="../slideLayouts/slideLayout358.xml"/><Relationship Id="rId7" Type="http://schemas.openxmlformats.org/officeDocument/2006/relationships/slideLayout" Target="../slideLayouts/slideLayout289.xml"/><Relationship Id="rId71" Type="http://schemas.openxmlformats.org/officeDocument/2006/relationships/slideLayout" Target="../slideLayouts/slideLayout353.xml"/><Relationship Id="rId2" Type="http://schemas.openxmlformats.org/officeDocument/2006/relationships/slideLayout" Target="../slideLayouts/slideLayout284.xml"/><Relationship Id="rId29" Type="http://schemas.openxmlformats.org/officeDocument/2006/relationships/slideLayout" Target="../slideLayouts/slideLayout311.xml"/><Relationship Id="rId24" Type="http://schemas.openxmlformats.org/officeDocument/2006/relationships/slideLayout" Target="../slideLayouts/slideLayout306.xml"/><Relationship Id="rId40" Type="http://schemas.openxmlformats.org/officeDocument/2006/relationships/slideLayout" Target="../slideLayouts/slideLayout322.xml"/><Relationship Id="rId45" Type="http://schemas.openxmlformats.org/officeDocument/2006/relationships/slideLayout" Target="../slideLayouts/slideLayout327.xml"/><Relationship Id="rId66" Type="http://schemas.openxmlformats.org/officeDocument/2006/relationships/slideLayout" Target="../slideLayouts/slideLayout348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86.xml"/><Relationship Id="rId21" Type="http://schemas.openxmlformats.org/officeDocument/2006/relationships/slideLayout" Target="../slideLayouts/slideLayout381.xml"/><Relationship Id="rId34" Type="http://schemas.openxmlformats.org/officeDocument/2006/relationships/slideLayout" Target="../slideLayouts/slideLayout394.xml"/><Relationship Id="rId42" Type="http://schemas.openxmlformats.org/officeDocument/2006/relationships/slideLayout" Target="../slideLayouts/slideLayout402.xml"/><Relationship Id="rId47" Type="http://schemas.openxmlformats.org/officeDocument/2006/relationships/slideLayout" Target="../slideLayouts/slideLayout407.xml"/><Relationship Id="rId50" Type="http://schemas.openxmlformats.org/officeDocument/2006/relationships/slideLayout" Target="../slideLayouts/slideLayout410.xml"/><Relationship Id="rId55" Type="http://schemas.openxmlformats.org/officeDocument/2006/relationships/slideLayout" Target="../slideLayouts/slideLayout415.xml"/><Relationship Id="rId63" Type="http://schemas.openxmlformats.org/officeDocument/2006/relationships/theme" Target="../theme/theme6.xml"/><Relationship Id="rId7" Type="http://schemas.openxmlformats.org/officeDocument/2006/relationships/slideLayout" Target="../slideLayouts/slideLayout367.xml"/><Relationship Id="rId2" Type="http://schemas.openxmlformats.org/officeDocument/2006/relationships/slideLayout" Target="../slideLayouts/slideLayout362.xml"/><Relationship Id="rId16" Type="http://schemas.openxmlformats.org/officeDocument/2006/relationships/slideLayout" Target="../slideLayouts/slideLayout376.xml"/><Relationship Id="rId29" Type="http://schemas.openxmlformats.org/officeDocument/2006/relationships/slideLayout" Target="../slideLayouts/slideLayout389.xml"/><Relationship Id="rId11" Type="http://schemas.openxmlformats.org/officeDocument/2006/relationships/slideLayout" Target="../slideLayouts/slideLayout371.xml"/><Relationship Id="rId24" Type="http://schemas.openxmlformats.org/officeDocument/2006/relationships/slideLayout" Target="../slideLayouts/slideLayout384.xml"/><Relationship Id="rId32" Type="http://schemas.openxmlformats.org/officeDocument/2006/relationships/slideLayout" Target="../slideLayouts/slideLayout392.xml"/><Relationship Id="rId37" Type="http://schemas.openxmlformats.org/officeDocument/2006/relationships/slideLayout" Target="../slideLayouts/slideLayout397.xml"/><Relationship Id="rId40" Type="http://schemas.openxmlformats.org/officeDocument/2006/relationships/slideLayout" Target="../slideLayouts/slideLayout400.xml"/><Relationship Id="rId45" Type="http://schemas.openxmlformats.org/officeDocument/2006/relationships/slideLayout" Target="../slideLayouts/slideLayout405.xml"/><Relationship Id="rId53" Type="http://schemas.openxmlformats.org/officeDocument/2006/relationships/slideLayout" Target="../slideLayouts/slideLayout413.xml"/><Relationship Id="rId58" Type="http://schemas.openxmlformats.org/officeDocument/2006/relationships/slideLayout" Target="../slideLayouts/slideLayout418.xml"/><Relationship Id="rId66" Type="http://schemas.openxmlformats.org/officeDocument/2006/relationships/image" Target="../media/image46.emf"/><Relationship Id="rId5" Type="http://schemas.openxmlformats.org/officeDocument/2006/relationships/slideLayout" Target="../slideLayouts/slideLayout365.xml"/><Relationship Id="rId61" Type="http://schemas.openxmlformats.org/officeDocument/2006/relationships/slideLayout" Target="../slideLayouts/slideLayout421.xml"/><Relationship Id="rId19" Type="http://schemas.openxmlformats.org/officeDocument/2006/relationships/slideLayout" Target="../slideLayouts/slideLayout379.xml"/><Relationship Id="rId14" Type="http://schemas.openxmlformats.org/officeDocument/2006/relationships/slideLayout" Target="../slideLayouts/slideLayout374.xml"/><Relationship Id="rId22" Type="http://schemas.openxmlformats.org/officeDocument/2006/relationships/slideLayout" Target="../slideLayouts/slideLayout382.xml"/><Relationship Id="rId27" Type="http://schemas.openxmlformats.org/officeDocument/2006/relationships/slideLayout" Target="../slideLayouts/slideLayout387.xml"/><Relationship Id="rId30" Type="http://schemas.openxmlformats.org/officeDocument/2006/relationships/slideLayout" Target="../slideLayouts/slideLayout390.xml"/><Relationship Id="rId35" Type="http://schemas.openxmlformats.org/officeDocument/2006/relationships/slideLayout" Target="../slideLayouts/slideLayout395.xml"/><Relationship Id="rId43" Type="http://schemas.openxmlformats.org/officeDocument/2006/relationships/slideLayout" Target="../slideLayouts/slideLayout403.xml"/><Relationship Id="rId48" Type="http://schemas.openxmlformats.org/officeDocument/2006/relationships/slideLayout" Target="../slideLayouts/slideLayout408.xml"/><Relationship Id="rId56" Type="http://schemas.openxmlformats.org/officeDocument/2006/relationships/slideLayout" Target="../slideLayouts/slideLayout416.xml"/><Relationship Id="rId64" Type="http://schemas.openxmlformats.org/officeDocument/2006/relationships/tags" Target="../tags/tag77.xml"/><Relationship Id="rId8" Type="http://schemas.openxmlformats.org/officeDocument/2006/relationships/slideLayout" Target="../slideLayouts/slideLayout368.xml"/><Relationship Id="rId51" Type="http://schemas.openxmlformats.org/officeDocument/2006/relationships/slideLayout" Target="../slideLayouts/slideLayout411.xml"/><Relationship Id="rId3" Type="http://schemas.openxmlformats.org/officeDocument/2006/relationships/slideLayout" Target="../slideLayouts/slideLayout363.xml"/><Relationship Id="rId12" Type="http://schemas.openxmlformats.org/officeDocument/2006/relationships/slideLayout" Target="../slideLayouts/slideLayout372.xml"/><Relationship Id="rId17" Type="http://schemas.openxmlformats.org/officeDocument/2006/relationships/slideLayout" Target="../slideLayouts/slideLayout377.xml"/><Relationship Id="rId25" Type="http://schemas.openxmlformats.org/officeDocument/2006/relationships/slideLayout" Target="../slideLayouts/slideLayout385.xml"/><Relationship Id="rId33" Type="http://schemas.openxmlformats.org/officeDocument/2006/relationships/slideLayout" Target="../slideLayouts/slideLayout393.xml"/><Relationship Id="rId38" Type="http://schemas.openxmlformats.org/officeDocument/2006/relationships/slideLayout" Target="../slideLayouts/slideLayout398.xml"/><Relationship Id="rId46" Type="http://schemas.openxmlformats.org/officeDocument/2006/relationships/slideLayout" Target="../slideLayouts/slideLayout406.xml"/><Relationship Id="rId59" Type="http://schemas.openxmlformats.org/officeDocument/2006/relationships/slideLayout" Target="../slideLayouts/slideLayout419.xml"/><Relationship Id="rId20" Type="http://schemas.openxmlformats.org/officeDocument/2006/relationships/slideLayout" Target="../slideLayouts/slideLayout380.xml"/><Relationship Id="rId41" Type="http://schemas.openxmlformats.org/officeDocument/2006/relationships/slideLayout" Target="../slideLayouts/slideLayout401.xml"/><Relationship Id="rId54" Type="http://schemas.openxmlformats.org/officeDocument/2006/relationships/slideLayout" Target="../slideLayouts/slideLayout414.xml"/><Relationship Id="rId62" Type="http://schemas.openxmlformats.org/officeDocument/2006/relationships/slideLayout" Target="../slideLayouts/slideLayout422.xml"/><Relationship Id="rId1" Type="http://schemas.openxmlformats.org/officeDocument/2006/relationships/slideLayout" Target="../slideLayouts/slideLayout361.xml"/><Relationship Id="rId6" Type="http://schemas.openxmlformats.org/officeDocument/2006/relationships/slideLayout" Target="../slideLayouts/slideLayout366.xml"/><Relationship Id="rId15" Type="http://schemas.openxmlformats.org/officeDocument/2006/relationships/slideLayout" Target="../slideLayouts/slideLayout375.xml"/><Relationship Id="rId23" Type="http://schemas.openxmlformats.org/officeDocument/2006/relationships/slideLayout" Target="../slideLayouts/slideLayout383.xml"/><Relationship Id="rId28" Type="http://schemas.openxmlformats.org/officeDocument/2006/relationships/slideLayout" Target="../slideLayouts/slideLayout388.xml"/><Relationship Id="rId36" Type="http://schemas.openxmlformats.org/officeDocument/2006/relationships/slideLayout" Target="../slideLayouts/slideLayout396.xml"/><Relationship Id="rId49" Type="http://schemas.openxmlformats.org/officeDocument/2006/relationships/slideLayout" Target="../slideLayouts/slideLayout409.xml"/><Relationship Id="rId57" Type="http://schemas.openxmlformats.org/officeDocument/2006/relationships/slideLayout" Target="../slideLayouts/slideLayout417.xml"/><Relationship Id="rId10" Type="http://schemas.openxmlformats.org/officeDocument/2006/relationships/slideLayout" Target="../slideLayouts/slideLayout370.xml"/><Relationship Id="rId31" Type="http://schemas.openxmlformats.org/officeDocument/2006/relationships/slideLayout" Target="../slideLayouts/slideLayout391.xml"/><Relationship Id="rId44" Type="http://schemas.openxmlformats.org/officeDocument/2006/relationships/slideLayout" Target="../slideLayouts/slideLayout404.xml"/><Relationship Id="rId52" Type="http://schemas.openxmlformats.org/officeDocument/2006/relationships/slideLayout" Target="../slideLayouts/slideLayout412.xml"/><Relationship Id="rId60" Type="http://schemas.openxmlformats.org/officeDocument/2006/relationships/slideLayout" Target="../slideLayouts/slideLayout420.xml"/><Relationship Id="rId65" Type="http://schemas.openxmlformats.org/officeDocument/2006/relationships/oleObject" Target="../embeddings/oleObject61.bin"/><Relationship Id="rId4" Type="http://schemas.openxmlformats.org/officeDocument/2006/relationships/slideLayout" Target="../slideLayouts/slideLayout364.xml"/><Relationship Id="rId9" Type="http://schemas.openxmlformats.org/officeDocument/2006/relationships/slideLayout" Target="../slideLayouts/slideLayout369.xml"/><Relationship Id="rId13" Type="http://schemas.openxmlformats.org/officeDocument/2006/relationships/slideLayout" Target="../slideLayouts/slideLayout373.xml"/><Relationship Id="rId18" Type="http://schemas.openxmlformats.org/officeDocument/2006/relationships/slideLayout" Target="../slideLayouts/slideLayout378.xml"/><Relationship Id="rId39" Type="http://schemas.openxmlformats.org/officeDocument/2006/relationships/slideLayout" Target="../slideLayouts/slideLayout399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35.xml"/><Relationship Id="rId18" Type="http://schemas.openxmlformats.org/officeDocument/2006/relationships/slideLayout" Target="../slideLayouts/slideLayout440.xml"/><Relationship Id="rId26" Type="http://schemas.openxmlformats.org/officeDocument/2006/relationships/slideLayout" Target="../slideLayouts/slideLayout448.xml"/><Relationship Id="rId39" Type="http://schemas.openxmlformats.org/officeDocument/2006/relationships/tags" Target="../tags/tag78.xml"/><Relationship Id="rId21" Type="http://schemas.openxmlformats.org/officeDocument/2006/relationships/slideLayout" Target="../slideLayouts/slideLayout443.xml"/><Relationship Id="rId34" Type="http://schemas.openxmlformats.org/officeDocument/2006/relationships/slideLayout" Target="../slideLayouts/slideLayout456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429.xml"/><Relationship Id="rId2" Type="http://schemas.openxmlformats.org/officeDocument/2006/relationships/slideLayout" Target="../slideLayouts/slideLayout424.xml"/><Relationship Id="rId16" Type="http://schemas.openxmlformats.org/officeDocument/2006/relationships/slideLayout" Target="../slideLayouts/slideLayout438.xml"/><Relationship Id="rId20" Type="http://schemas.openxmlformats.org/officeDocument/2006/relationships/slideLayout" Target="../slideLayouts/slideLayout442.xml"/><Relationship Id="rId29" Type="http://schemas.openxmlformats.org/officeDocument/2006/relationships/slideLayout" Target="../slideLayouts/slideLayout451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423.xml"/><Relationship Id="rId6" Type="http://schemas.openxmlformats.org/officeDocument/2006/relationships/slideLayout" Target="../slideLayouts/slideLayout428.xml"/><Relationship Id="rId11" Type="http://schemas.openxmlformats.org/officeDocument/2006/relationships/slideLayout" Target="../slideLayouts/slideLayout433.xml"/><Relationship Id="rId24" Type="http://schemas.openxmlformats.org/officeDocument/2006/relationships/slideLayout" Target="../slideLayouts/slideLayout446.xml"/><Relationship Id="rId32" Type="http://schemas.openxmlformats.org/officeDocument/2006/relationships/slideLayout" Target="../slideLayouts/slideLayout454.xml"/><Relationship Id="rId37" Type="http://schemas.openxmlformats.org/officeDocument/2006/relationships/slideLayout" Target="../slideLayouts/slideLayout459.xml"/><Relationship Id="rId40" Type="http://schemas.openxmlformats.org/officeDocument/2006/relationships/oleObject" Target="../embeddings/oleObject62.bin"/><Relationship Id="rId5" Type="http://schemas.openxmlformats.org/officeDocument/2006/relationships/slideLayout" Target="../slideLayouts/slideLayout427.xml"/><Relationship Id="rId15" Type="http://schemas.openxmlformats.org/officeDocument/2006/relationships/slideLayout" Target="../slideLayouts/slideLayout437.xml"/><Relationship Id="rId23" Type="http://schemas.openxmlformats.org/officeDocument/2006/relationships/slideLayout" Target="../slideLayouts/slideLayout445.xml"/><Relationship Id="rId28" Type="http://schemas.openxmlformats.org/officeDocument/2006/relationships/slideLayout" Target="../slideLayouts/slideLayout450.xml"/><Relationship Id="rId36" Type="http://schemas.openxmlformats.org/officeDocument/2006/relationships/slideLayout" Target="../slideLayouts/slideLayout458.xml"/><Relationship Id="rId10" Type="http://schemas.openxmlformats.org/officeDocument/2006/relationships/slideLayout" Target="../slideLayouts/slideLayout432.xml"/><Relationship Id="rId19" Type="http://schemas.openxmlformats.org/officeDocument/2006/relationships/slideLayout" Target="../slideLayouts/slideLayout441.xml"/><Relationship Id="rId31" Type="http://schemas.openxmlformats.org/officeDocument/2006/relationships/slideLayout" Target="../slideLayouts/slideLayout453.xml"/><Relationship Id="rId4" Type="http://schemas.openxmlformats.org/officeDocument/2006/relationships/slideLayout" Target="../slideLayouts/slideLayout426.xml"/><Relationship Id="rId9" Type="http://schemas.openxmlformats.org/officeDocument/2006/relationships/slideLayout" Target="../slideLayouts/slideLayout431.xml"/><Relationship Id="rId14" Type="http://schemas.openxmlformats.org/officeDocument/2006/relationships/slideLayout" Target="../slideLayouts/slideLayout436.xml"/><Relationship Id="rId22" Type="http://schemas.openxmlformats.org/officeDocument/2006/relationships/slideLayout" Target="../slideLayouts/slideLayout444.xml"/><Relationship Id="rId27" Type="http://schemas.openxmlformats.org/officeDocument/2006/relationships/slideLayout" Target="../slideLayouts/slideLayout449.xml"/><Relationship Id="rId30" Type="http://schemas.openxmlformats.org/officeDocument/2006/relationships/slideLayout" Target="../slideLayouts/slideLayout452.xml"/><Relationship Id="rId35" Type="http://schemas.openxmlformats.org/officeDocument/2006/relationships/slideLayout" Target="../slideLayouts/slideLayout457.xml"/><Relationship Id="rId8" Type="http://schemas.openxmlformats.org/officeDocument/2006/relationships/slideLayout" Target="../slideLayouts/slideLayout430.xml"/><Relationship Id="rId3" Type="http://schemas.openxmlformats.org/officeDocument/2006/relationships/slideLayout" Target="../slideLayouts/slideLayout425.xml"/><Relationship Id="rId12" Type="http://schemas.openxmlformats.org/officeDocument/2006/relationships/slideLayout" Target="../slideLayouts/slideLayout434.xml"/><Relationship Id="rId17" Type="http://schemas.openxmlformats.org/officeDocument/2006/relationships/slideLayout" Target="../slideLayouts/slideLayout439.xml"/><Relationship Id="rId25" Type="http://schemas.openxmlformats.org/officeDocument/2006/relationships/slideLayout" Target="../slideLayouts/slideLayout447.xml"/><Relationship Id="rId33" Type="http://schemas.openxmlformats.org/officeDocument/2006/relationships/slideLayout" Target="../slideLayouts/slideLayout455.xml"/><Relationship Id="rId38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AA0957-8BBE-40A1-8D81-C643AB6A3FD3}"/>
              </a:ext>
            </a:extLst>
          </p:cNvPr>
          <p:cNvGraphicFramePr>
            <a:graphicFrameLocks noChangeAspect="1"/>
          </p:cNvGraphicFramePr>
          <p:nvPr>
            <p:custDataLst>
              <p:tags r:id="rId71"/>
            </p:custDataLst>
            <p:extLst>
              <p:ext uri="{D42A27DB-BD31-4B8C-83A1-F6EECF244321}">
                <p14:modId xmlns:p14="http://schemas.microsoft.com/office/powerpoint/2010/main" val="2743129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2" imgW="382" imgH="378" progId="TCLayout.ActiveDocument.1">
                  <p:embed/>
                </p:oleObj>
              </mc:Choice>
              <mc:Fallback>
                <p:oleObj name="think-cell Slide" r:id="rId72" imgW="382" imgH="3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AA0957-8BBE-40A1-8D81-C643AB6A3F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E7E9FA70-309C-4513-AA5C-F8E9D7A6A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1"/>
            <a:ext cx="10972800" cy="1216141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5CFE63-E3DA-4DAA-B663-2681396B9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610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Slide Number Placeholder 6">
            <a:extLst>
              <a:ext uri="{FF2B5EF4-FFF2-40B4-BE49-F238E27FC236}">
                <a16:creationId xmlns:a16="http://schemas.microsoft.com/office/drawing/2014/main" id="{20BABB60-2C30-4A0C-9D66-F7B681BBCE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74473" y="6584496"/>
            <a:ext cx="567524" cy="94147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defRPr sz="700">
                <a:solidFill>
                  <a:schemeClr val="bg2"/>
                </a:solidFill>
                <a:latin typeface="+mn-lt"/>
                <a:cs typeface="Aldhabi" panose="020B0604020202020204" pitchFamily="2" charset="-78"/>
              </a:defRPr>
            </a:lvl1pPr>
          </a:lstStyle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FA326248-0F97-48D9-A2A0-31FCD05D44AF}"/>
              </a:ext>
            </a:extLst>
          </p:cNvPr>
          <p:cNvPicPr>
            <a:picLocks noChangeAspect="1"/>
          </p:cNvPicPr>
          <p:nvPr/>
        </p:nvPicPr>
        <p:blipFill>
          <a:blip r:embed="rId7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003" y="6494946"/>
            <a:ext cx="552782" cy="17910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73A15F9-CC75-4679-B532-C307AE3FB1A5}"/>
              </a:ext>
            </a:extLst>
          </p:cNvPr>
          <p:cNvSpPr txBox="1"/>
          <p:nvPr/>
        </p:nvSpPr>
        <p:spPr>
          <a:xfrm>
            <a:off x="9337290" y="6581714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</p:spTree>
    <p:extLst>
      <p:ext uri="{BB962C8B-B14F-4D97-AF65-F5344CB8AC3E}">
        <p14:creationId xmlns:p14="http://schemas.microsoft.com/office/powerpoint/2010/main" val="810111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  <p:sldLayoutId id="2147483863" r:id="rId12"/>
    <p:sldLayoutId id="2147483864" r:id="rId13"/>
    <p:sldLayoutId id="2147483865" r:id="rId14"/>
    <p:sldLayoutId id="2147483866" r:id="rId15"/>
    <p:sldLayoutId id="2147483867" r:id="rId16"/>
    <p:sldLayoutId id="2147483868" r:id="rId17"/>
    <p:sldLayoutId id="2147483869" r:id="rId18"/>
    <p:sldLayoutId id="2147483870" r:id="rId19"/>
    <p:sldLayoutId id="2147483871" r:id="rId20"/>
    <p:sldLayoutId id="2147483872" r:id="rId21"/>
    <p:sldLayoutId id="2147483873" r:id="rId22"/>
    <p:sldLayoutId id="2147483874" r:id="rId23"/>
    <p:sldLayoutId id="2147483875" r:id="rId24"/>
    <p:sldLayoutId id="2147483876" r:id="rId25"/>
    <p:sldLayoutId id="2147483877" r:id="rId26"/>
    <p:sldLayoutId id="2147483878" r:id="rId27"/>
    <p:sldLayoutId id="2147483879" r:id="rId28"/>
    <p:sldLayoutId id="2147483880" r:id="rId29"/>
    <p:sldLayoutId id="2147483881" r:id="rId30"/>
    <p:sldLayoutId id="2147483882" r:id="rId31"/>
    <p:sldLayoutId id="2147483883" r:id="rId32"/>
    <p:sldLayoutId id="2147483884" r:id="rId33"/>
    <p:sldLayoutId id="2147483885" r:id="rId34"/>
    <p:sldLayoutId id="2147483886" r:id="rId35"/>
    <p:sldLayoutId id="2147483887" r:id="rId36"/>
    <p:sldLayoutId id="2147483888" r:id="rId37"/>
    <p:sldLayoutId id="2147483889" r:id="rId38"/>
    <p:sldLayoutId id="2147483890" r:id="rId39"/>
    <p:sldLayoutId id="2147483891" r:id="rId40"/>
    <p:sldLayoutId id="2147483892" r:id="rId41"/>
    <p:sldLayoutId id="2147483893" r:id="rId42"/>
    <p:sldLayoutId id="2147483894" r:id="rId43"/>
    <p:sldLayoutId id="2147483895" r:id="rId44"/>
    <p:sldLayoutId id="2147483896" r:id="rId45"/>
    <p:sldLayoutId id="2147483897" r:id="rId46"/>
    <p:sldLayoutId id="2147483898" r:id="rId47"/>
    <p:sldLayoutId id="2147483899" r:id="rId48"/>
    <p:sldLayoutId id="2147483900" r:id="rId49"/>
    <p:sldLayoutId id="2147483901" r:id="rId50"/>
    <p:sldLayoutId id="2147483902" r:id="rId51"/>
    <p:sldLayoutId id="2147483903" r:id="rId52"/>
    <p:sldLayoutId id="2147483904" r:id="rId53"/>
    <p:sldLayoutId id="2147483905" r:id="rId54"/>
    <p:sldLayoutId id="2147483906" r:id="rId55"/>
    <p:sldLayoutId id="2147483907" r:id="rId56"/>
    <p:sldLayoutId id="2147483908" r:id="rId57"/>
    <p:sldLayoutId id="2147483909" r:id="rId58"/>
    <p:sldLayoutId id="2147483910" r:id="rId59"/>
    <p:sldLayoutId id="2147483911" r:id="rId60"/>
    <p:sldLayoutId id="2147483912" r:id="rId61"/>
    <p:sldLayoutId id="2147483913" r:id="rId62"/>
    <p:sldLayoutId id="2147483914" r:id="rId63"/>
    <p:sldLayoutId id="2147483915" r:id="rId64"/>
    <p:sldLayoutId id="2147483916" r:id="rId65"/>
    <p:sldLayoutId id="2147483917" r:id="rId66"/>
    <p:sldLayoutId id="2147483918" r:id="rId67"/>
    <p:sldLayoutId id="2147483919" r:id="rId68"/>
    <p:sldLayoutId id="2147483920" r:id="rId6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spcAft>
          <a:spcPts val="2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0375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42950" indent="-280988" algn="l" defTabSz="914400" rtl="0" eaLnBrk="1" latinLnBrk="0" hangingPunct="1">
        <a:lnSpc>
          <a:spcPct val="100000"/>
        </a:lnSpc>
        <a:spcBef>
          <a:spcPts val="6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33463" indent="-290513" algn="l" defTabSz="914400" rtl="0" eaLnBrk="1" latinLnBrk="0" hangingPunct="1">
        <a:lnSpc>
          <a:spcPct val="100000"/>
        </a:lnSpc>
        <a:spcBef>
          <a:spcPts val="5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">
          <p15:clr>
            <a:srgbClr val="F26B43"/>
          </p15:clr>
        </p15:guide>
        <p15:guide id="9" pos="7296">
          <p15:clr>
            <a:srgbClr val="F26B43"/>
          </p15:clr>
        </p15:guide>
        <p15:guide id="10" orient="horz" pos="408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88">
          <p15:clr>
            <a:srgbClr val="F26B43"/>
          </p15:clr>
        </p15:guide>
        <p15:guide id="13" orient="horz" pos="1008">
          <p15:clr>
            <a:srgbClr val="F26B43"/>
          </p15:clr>
        </p15:guide>
        <p15:guide id="14" orient="horz" pos="39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AA0957-8BBE-40A1-8D81-C643AB6A3FD3}"/>
              </a:ext>
            </a:extLst>
          </p:cNvPr>
          <p:cNvGraphicFramePr>
            <a:graphicFrameLocks noChangeAspect="1"/>
          </p:cNvGraphicFramePr>
          <p:nvPr>
            <p:custDataLst>
              <p:tags r:id="rId79"/>
            </p:custDataLst>
            <p:extLst>
              <p:ext uri="{D42A27DB-BD31-4B8C-83A1-F6EECF244321}">
                <p14:modId xmlns:p14="http://schemas.microsoft.com/office/powerpoint/2010/main" val="2743129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0" imgW="382" imgH="378" progId="TCLayout.ActiveDocument.1">
                  <p:embed/>
                </p:oleObj>
              </mc:Choice>
              <mc:Fallback>
                <p:oleObj name="think-cell Slide" r:id="rId80" imgW="382" imgH="3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AA0957-8BBE-40A1-8D81-C643AB6A3F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E7E9FA70-309C-4513-AA5C-F8E9D7A6A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1"/>
            <a:ext cx="10972800" cy="1216141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5CFE63-E3DA-4DAA-B663-2681396B9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610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Slide Number Placeholder 6">
            <a:extLst>
              <a:ext uri="{FF2B5EF4-FFF2-40B4-BE49-F238E27FC236}">
                <a16:creationId xmlns:a16="http://schemas.microsoft.com/office/drawing/2014/main" id="{20BABB60-2C30-4A0C-9D66-F7B681BBCE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4876" y="6400799"/>
            <a:ext cx="567524" cy="94147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defRPr sz="700">
                <a:solidFill>
                  <a:schemeClr val="bg2"/>
                </a:solidFill>
                <a:latin typeface="+mn-lt"/>
                <a:cs typeface="Aldhabi" panose="020B0604020202020204" pitchFamily="2" charset="-78"/>
              </a:defRPr>
            </a:lvl1pPr>
          </a:lstStyle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FA326248-0F97-48D9-A2A0-31FCD05D44AF}"/>
              </a:ext>
            </a:extLst>
          </p:cNvPr>
          <p:cNvPicPr>
            <a:picLocks noChangeAspect="1"/>
          </p:cNvPicPr>
          <p:nvPr/>
        </p:nvPicPr>
        <p:blipFill>
          <a:blip r:embed="rId8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923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  <p:sldLayoutId id="2147483930" r:id="rId9"/>
    <p:sldLayoutId id="2147483931" r:id="rId10"/>
    <p:sldLayoutId id="2147483932" r:id="rId11"/>
    <p:sldLayoutId id="2147483933" r:id="rId12"/>
    <p:sldLayoutId id="2147483934" r:id="rId13"/>
    <p:sldLayoutId id="2147483935" r:id="rId14"/>
    <p:sldLayoutId id="2147483936" r:id="rId15"/>
    <p:sldLayoutId id="2147483937" r:id="rId16"/>
    <p:sldLayoutId id="2147483938" r:id="rId17"/>
    <p:sldLayoutId id="2147483939" r:id="rId18"/>
    <p:sldLayoutId id="2147483940" r:id="rId19"/>
    <p:sldLayoutId id="2147483941" r:id="rId20"/>
    <p:sldLayoutId id="2147483942" r:id="rId21"/>
    <p:sldLayoutId id="2147483943" r:id="rId22"/>
    <p:sldLayoutId id="2147483944" r:id="rId23"/>
    <p:sldLayoutId id="2147483945" r:id="rId24"/>
    <p:sldLayoutId id="2147483946" r:id="rId25"/>
    <p:sldLayoutId id="2147483947" r:id="rId26"/>
    <p:sldLayoutId id="2147483948" r:id="rId27"/>
    <p:sldLayoutId id="2147483949" r:id="rId28"/>
    <p:sldLayoutId id="2147483950" r:id="rId29"/>
    <p:sldLayoutId id="2147483951" r:id="rId30"/>
    <p:sldLayoutId id="2147483952" r:id="rId31"/>
    <p:sldLayoutId id="2147483953" r:id="rId32"/>
    <p:sldLayoutId id="2147483954" r:id="rId33"/>
    <p:sldLayoutId id="2147483955" r:id="rId34"/>
    <p:sldLayoutId id="2147483956" r:id="rId35"/>
    <p:sldLayoutId id="2147483957" r:id="rId36"/>
    <p:sldLayoutId id="2147483958" r:id="rId37"/>
    <p:sldLayoutId id="2147483959" r:id="rId38"/>
    <p:sldLayoutId id="2147483960" r:id="rId39"/>
    <p:sldLayoutId id="2147483961" r:id="rId40"/>
    <p:sldLayoutId id="2147483962" r:id="rId41"/>
    <p:sldLayoutId id="2147483963" r:id="rId42"/>
    <p:sldLayoutId id="2147483964" r:id="rId43"/>
    <p:sldLayoutId id="2147483965" r:id="rId44"/>
    <p:sldLayoutId id="2147483966" r:id="rId45"/>
    <p:sldLayoutId id="2147483967" r:id="rId46"/>
    <p:sldLayoutId id="2147483968" r:id="rId47"/>
    <p:sldLayoutId id="2147483969" r:id="rId48"/>
    <p:sldLayoutId id="2147483970" r:id="rId49"/>
    <p:sldLayoutId id="2147483971" r:id="rId50"/>
    <p:sldLayoutId id="2147483972" r:id="rId51"/>
    <p:sldLayoutId id="2147483973" r:id="rId52"/>
    <p:sldLayoutId id="2147483974" r:id="rId53"/>
    <p:sldLayoutId id="2147483975" r:id="rId54"/>
    <p:sldLayoutId id="2147483976" r:id="rId55"/>
    <p:sldLayoutId id="2147483977" r:id="rId56"/>
    <p:sldLayoutId id="2147483978" r:id="rId57"/>
    <p:sldLayoutId id="2147483979" r:id="rId58"/>
    <p:sldLayoutId id="2147483980" r:id="rId59"/>
    <p:sldLayoutId id="2147483981" r:id="rId60"/>
    <p:sldLayoutId id="2147483982" r:id="rId61"/>
    <p:sldLayoutId id="2147483983" r:id="rId62"/>
    <p:sldLayoutId id="2147483984" r:id="rId63"/>
    <p:sldLayoutId id="2147483985" r:id="rId64"/>
    <p:sldLayoutId id="2147483986" r:id="rId65"/>
    <p:sldLayoutId id="2147483987" r:id="rId66"/>
    <p:sldLayoutId id="2147483988" r:id="rId67"/>
    <p:sldLayoutId id="2147483989" r:id="rId68"/>
    <p:sldLayoutId id="2147483990" r:id="rId69"/>
    <p:sldLayoutId id="2147483991" r:id="rId70"/>
    <p:sldLayoutId id="2147483992" r:id="rId71"/>
    <p:sldLayoutId id="2147483993" r:id="rId72"/>
    <p:sldLayoutId id="2147483994" r:id="rId73"/>
    <p:sldLayoutId id="2147483995" r:id="rId74"/>
    <p:sldLayoutId id="2147484074" r:id="rId75"/>
    <p:sldLayoutId id="2147484292" r:id="rId76"/>
    <p:sldLayoutId id="2147484293" r:id="rId77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spcAft>
          <a:spcPts val="2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0375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42950" indent="-280988" algn="l" defTabSz="914400" rtl="0" eaLnBrk="1" latinLnBrk="0" hangingPunct="1">
        <a:lnSpc>
          <a:spcPct val="100000"/>
        </a:lnSpc>
        <a:spcBef>
          <a:spcPts val="6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33463" indent="-290513" algn="l" defTabSz="914400" rtl="0" eaLnBrk="1" latinLnBrk="0" hangingPunct="1">
        <a:lnSpc>
          <a:spcPct val="100000"/>
        </a:lnSpc>
        <a:spcBef>
          <a:spcPts val="5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">
          <p15:clr>
            <a:srgbClr val="F26B43"/>
          </p15:clr>
        </p15:guide>
        <p15:guide id="9" pos="7296">
          <p15:clr>
            <a:srgbClr val="F26B43"/>
          </p15:clr>
        </p15:guide>
        <p15:guide id="10" orient="horz" pos="408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88">
          <p15:clr>
            <a:srgbClr val="F26B43"/>
          </p15:clr>
        </p15:guide>
        <p15:guide id="13" orient="horz" pos="1008">
          <p15:clr>
            <a:srgbClr val="F26B43"/>
          </p15:clr>
        </p15:guide>
        <p15:guide id="14" orient="horz" pos="391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AA0957-8BBE-40A1-8D81-C643AB6A3FD3}"/>
              </a:ext>
            </a:extLst>
          </p:cNvPr>
          <p:cNvGraphicFramePr>
            <a:graphicFrameLocks noChangeAspect="1"/>
          </p:cNvGraphicFramePr>
          <p:nvPr>
            <p:custDataLst>
              <p:tags r:id="rId76"/>
            </p:custDataLst>
            <p:extLst>
              <p:ext uri="{D42A27DB-BD31-4B8C-83A1-F6EECF244321}">
                <p14:modId xmlns:p14="http://schemas.microsoft.com/office/powerpoint/2010/main" val="2743129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7" imgW="382" imgH="378" progId="TCLayout.ActiveDocument.1">
                  <p:embed/>
                </p:oleObj>
              </mc:Choice>
              <mc:Fallback>
                <p:oleObj name="think-cell Slide" r:id="rId77" imgW="382" imgH="3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AA0957-8BBE-40A1-8D81-C643AB6A3F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E7E9FA70-309C-4513-AA5C-F8E9D7A6A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1"/>
            <a:ext cx="10972800" cy="1216141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5CFE63-E3DA-4DAA-B663-2681396B9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610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Slide Number Placeholder 6">
            <a:extLst>
              <a:ext uri="{FF2B5EF4-FFF2-40B4-BE49-F238E27FC236}">
                <a16:creationId xmlns:a16="http://schemas.microsoft.com/office/drawing/2014/main" id="{20BABB60-2C30-4A0C-9D66-F7B681BBCE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4876" y="6400799"/>
            <a:ext cx="567524" cy="94147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defRPr sz="700">
                <a:solidFill>
                  <a:schemeClr val="bg2"/>
                </a:solidFill>
                <a:latin typeface="+mn-lt"/>
                <a:cs typeface="Aldhabi" panose="020B0604020202020204" pitchFamily="2" charset="-78"/>
              </a:defRPr>
            </a:lvl1pPr>
          </a:lstStyle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FA326248-0F97-48D9-A2A0-31FCD05D44AF}"/>
              </a:ext>
            </a:extLst>
          </p:cNvPr>
          <p:cNvPicPr>
            <a:picLocks noChangeAspect="1"/>
          </p:cNvPicPr>
          <p:nvPr/>
        </p:nvPicPr>
        <p:blipFill>
          <a:blip r:embed="rId7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226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7" r:id="rId1"/>
    <p:sldLayoutId id="2147483998" r:id="rId2"/>
    <p:sldLayoutId id="2147483999" r:id="rId3"/>
    <p:sldLayoutId id="2147484000" r:id="rId4"/>
    <p:sldLayoutId id="2147484001" r:id="rId5"/>
    <p:sldLayoutId id="2147484002" r:id="rId6"/>
    <p:sldLayoutId id="2147484003" r:id="rId7"/>
    <p:sldLayoutId id="2147484004" r:id="rId8"/>
    <p:sldLayoutId id="2147484005" r:id="rId9"/>
    <p:sldLayoutId id="2147484006" r:id="rId10"/>
    <p:sldLayoutId id="2147484007" r:id="rId11"/>
    <p:sldLayoutId id="2147484008" r:id="rId12"/>
    <p:sldLayoutId id="2147484009" r:id="rId13"/>
    <p:sldLayoutId id="2147484010" r:id="rId14"/>
    <p:sldLayoutId id="2147484011" r:id="rId15"/>
    <p:sldLayoutId id="2147484012" r:id="rId16"/>
    <p:sldLayoutId id="2147484013" r:id="rId17"/>
    <p:sldLayoutId id="2147484014" r:id="rId18"/>
    <p:sldLayoutId id="2147484015" r:id="rId19"/>
    <p:sldLayoutId id="2147484016" r:id="rId20"/>
    <p:sldLayoutId id="2147484017" r:id="rId21"/>
    <p:sldLayoutId id="2147484018" r:id="rId22"/>
    <p:sldLayoutId id="2147484019" r:id="rId23"/>
    <p:sldLayoutId id="2147484020" r:id="rId24"/>
    <p:sldLayoutId id="2147484021" r:id="rId25"/>
    <p:sldLayoutId id="2147484022" r:id="rId26"/>
    <p:sldLayoutId id="2147484023" r:id="rId27"/>
    <p:sldLayoutId id="2147484024" r:id="rId28"/>
    <p:sldLayoutId id="2147484025" r:id="rId29"/>
    <p:sldLayoutId id="2147484026" r:id="rId30"/>
    <p:sldLayoutId id="2147484027" r:id="rId31"/>
    <p:sldLayoutId id="2147484028" r:id="rId32"/>
    <p:sldLayoutId id="2147484029" r:id="rId33"/>
    <p:sldLayoutId id="2147484030" r:id="rId34"/>
    <p:sldLayoutId id="2147484031" r:id="rId35"/>
    <p:sldLayoutId id="2147484032" r:id="rId36"/>
    <p:sldLayoutId id="2147484033" r:id="rId37"/>
    <p:sldLayoutId id="2147484034" r:id="rId38"/>
    <p:sldLayoutId id="2147484035" r:id="rId39"/>
    <p:sldLayoutId id="2147484036" r:id="rId40"/>
    <p:sldLayoutId id="2147484037" r:id="rId41"/>
    <p:sldLayoutId id="2147484038" r:id="rId42"/>
    <p:sldLayoutId id="2147484039" r:id="rId43"/>
    <p:sldLayoutId id="2147484040" r:id="rId44"/>
    <p:sldLayoutId id="2147484041" r:id="rId45"/>
    <p:sldLayoutId id="2147484042" r:id="rId46"/>
    <p:sldLayoutId id="2147484043" r:id="rId47"/>
    <p:sldLayoutId id="2147484044" r:id="rId48"/>
    <p:sldLayoutId id="2147484045" r:id="rId49"/>
    <p:sldLayoutId id="2147484046" r:id="rId50"/>
    <p:sldLayoutId id="2147484047" r:id="rId51"/>
    <p:sldLayoutId id="2147484048" r:id="rId52"/>
    <p:sldLayoutId id="2147484049" r:id="rId53"/>
    <p:sldLayoutId id="2147484050" r:id="rId54"/>
    <p:sldLayoutId id="2147484051" r:id="rId55"/>
    <p:sldLayoutId id="2147484052" r:id="rId56"/>
    <p:sldLayoutId id="2147484053" r:id="rId57"/>
    <p:sldLayoutId id="2147484054" r:id="rId58"/>
    <p:sldLayoutId id="2147484055" r:id="rId59"/>
    <p:sldLayoutId id="2147484056" r:id="rId60"/>
    <p:sldLayoutId id="2147484057" r:id="rId61"/>
    <p:sldLayoutId id="2147484058" r:id="rId62"/>
    <p:sldLayoutId id="2147484059" r:id="rId63"/>
    <p:sldLayoutId id="2147484060" r:id="rId64"/>
    <p:sldLayoutId id="2147484061" r:id="rId65"/>
    <p:sldLayoutId id="2147484062" r:id="rId66"/>
    <p:sldLayoutId id="2147484063" r:id="rId67"/>
    <p:sldLayoutId id="2147484064" r:id="rId68"/>
    <p:sldLayoutId id="2147484065" r:id="rId69"/>
    <p:sldLayoutId id="2147484066" r:id="rId70"/>
    <p:sldLayoutId id="2147484067" r:id="rId71"/>
    <p:sldLayoutId id="2147484068" r:id="rId72"/>
    <p:sldLayoutId id="2147484069" r:id="rId73"/>
    <p:sldLayoutId id="2147484070" r:id="rId7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spcAft>
          <a:spcPts val="2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0375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42950" indent="-280988" algn="l" defTabSz="914400" rtl="0" eaLnBrk="1" latinLnBrk="0" hangingPunct="1">
        <a:lnSpc>
          <a:spcPct val="100000"/>
        </a:lnSpc>
        <a:spcBef>
          <a:spcPts val="6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33463" indent="-290513" algn="l" defTabSz="914400" rtl="0" eaLnBrk="1" latinLnBrk="0" hangingPunct="1">
        <a:lnSpc>
          <a:spcPct val="100000"/>
        </a:lnSpc>
        <a:spcBef>
          <a:spcPts val="5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">
          <p15:clr>
            <a:srgbClr val="F26B43"/>
          </p15:clr>
        </p15:guide>
        <p15:guide id="9" pos="7296">
          <p15:clr>
            <a:srgbClr val="F26B43"/>
          </p15:clr>
        </p15:guide>
        <p15:guide id="10" orient="horz" pos="408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88">
          <p15:clr>
            <a:srgbClr val="F26B43"/>
          </p15:clr>
        </p15:guide>
        <p15:guide id="13" orient="horz" pos="1008">
          <p15:clr>
            <a:srgbClr val="F26B43"/>
          </p15:clr>
        </p15:guide>
        <p15:guide id="14" orient="horz" pos="391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71E99AB-8390-466D-8814-82730D2E4E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4"/>
            </p:custDataLst>
            <p:extLst>
              <p:ext uri="{D42A27DB-BD31-4B8C-83A1-F6EECF244321}">
                <p14:modId xmlns:p14="http://schemas.microsoft.com/office/powerpoint/2010/main" val="1952427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5" imgW="395" imgH="394" progId="TCLayout.ActiveDocument.1">
                  <p:embed/>
                </p:oleObj>
              </mc:Choice>
              <mc:Fallback>
                <p:oleObj name="think-cell Slide" r:id="rId6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71E99AB-8390-466D-8814-82730D2E4E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E7E9FA70-309C-4513-AA5C-F8E9D7A6A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1"/>
            <a:ext cx="10972800" cy="1216141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5CFE63-E3DA-4DAA-B663-2681396B9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610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Slide Number Placeholder 6">
            <a:extLst>
              <a:ext uri="{FF2B5EF4-FFF2-40B4-BE49-F238E27FC236}">
                <a16:creationId xmlns:a16="http://schemas.microsoft.com/office/drawing/2014/main" id="{20BABB60-2C30-4A0C-9D66-F7B681BBCE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4876" y="6400799"/>
            <a:ext cx="567524" cy="94147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defRPr sz="700">
                <a:solidFill>
                  <a:schemeClr val="bg2"/>
                </a:solidFill>
                <a:latin typeface="+mn-lt"/>
                <a:cs typeface="Aldhabi" panose="020B0604020202020204" pitchFamily="2" charset="-78"/>
              </a:defRPr>
            </a:lvl1pPr>
          </a:lstStyle>
          <a:p>
            <a:fld id="{443094CB-54FA-487B-996F-680132A45C1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32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  <p:sldLayoutId id="2147484086" r:id="rId6"/>
    <p:sldLayoutId id="2147484087" r:id="rId7"/>
    <p:sldLayoutId id="2147484088" r:id="rId8"/>
    <p:sldLayoutId id="2147484089" r:id="rId9"/>
    <p:sldLayoutId id="2147484090" r:id="rId10"/>
    <p:sldLayoutId id="2147484091" r:id="rId11"/>
    <p:sldLayoutId id="2147484092" r:id="rId12"/>
    <p:sldLayoutId id="2147484093" r:id="rId13"/>
    <p:sldLayoutId id="2147484094" r:id="rId14"/>
    <p:sldLayoutId id="2147484095" r:id="rId15"/>
    <p:sldLayoutId id="2147484096" r:id="rId16"/>
    <p:sldLayoutId id="2147484097" r:id="rId17"/>
    <p:sldLayoutId id="2147484098" r:id="rId18"/>
    <p:sldLayoutId id="2147484099" r:id="rId19"/>
    <p:sldLayoutId id="2147484100" r:id="rId20"/>
    <p:sldLayoutId id="2147484101" r:id="rId21"/>
    <p:sldLayoutId id="2147484102" r:id="rId22"/>
    <p:sldLayoutId id="2147484103" r:id="rId23"/>
    <p:sldLayoutId id="2147484104" r:id="rId24"/>
    <p:sldLayoutId id="2147484105" r:id="rId25"/>
    <p:sldLayoutId id="2147484106" r:id="rId26"/>
    <p:sldLayoutId id="2147484107" r:id="rId27"/>
    <p:sldLayoutId id="2147484108" r:id="rId28"/>
    <p:sldLayoutId id="2147484109" r:id="rId29"/>
    <p:sldLayoutId id="2147484110" r:id="rId30"/>
    <p:sldLayoutId id="2147484111" r:id="rId31"/>
    <p:sldLayoutId id="2147484112" r:id="rId32"/>
    <p:sldLayoutId id="2147484113" r:id="rId33"/>
    <p:sldLayoutId id="2147484114" r:id="rId34"/>
    <p:sldLayoutId id="2147484115" r:id="rId35"/>
    <p:sldLayoutId id="2147484116" r:id="rId36"/>
    <p:sldLayoutId id="2147484117" r:id="rId37"/>
    <p:sldLayoutId id="2147484118" r:id="rId38"/>
    <p:sldLayoutId id="2147484119" r:id="rId39"/>
    <p:sldLayoutId id="2147484120" r:id="rId40"/>
    <p:sldLayoutId id="2147484121" r:id="rId41"/>
    <p:sldLayoutId id="2147484122" r:id="rId42"/>
    <p:sldLayoutId id="2147484123" r:id="rId43"/>
    <p:sldLayoutId id="2147484124" r:id="rId44"/>
    <p:sldLayoutId id="2147484125" r:id="rId45"/>
    <p:sldLayoutId id="2147484126" r:id="rId46"/>
    <p:sldLayoutId id="2147484127" r:id="rId47"/>
    <p:sldLayoutId id="2147484128" r:id="rId48"/>
    <p:sldLayoutId id="2147484129" r:id="rId49"/>
    <p:sldLayoutId id="2147484130" r:id="rId50"/>
    <p:sldLayoutId id="2147484131" r:id="rId51"/>
    <p:sldLayoutId id="2147484132" r:id="rId52"/>
    <p:sldLayoutId id="2147484133" r:id="rId53"/>
    <p:sldLayoutId id="2147484134" r:id="rId54"/>
    <p:sldLayoutId id="2147484135" r:id="rId55"/>
    <p:sldLayoutId id="2147484136" r:id="rId56"/>
    <p:sldLayoutId id="2147484137" r:id="rId57"/>
    <p:sldLayoutId id="2147484138" r:id="rId58"/>
    <p:sldLayoutId id="2147484139" r:id="rId59"/>
    <p:sldLayoutId id="2147484140" r:id="rId60"/>
    <p:sldLayoutId id="2147484141" r:id="rId61"/>
    <p:sldLayoutId id="2147484143" r:id="rId6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spcAft>
          <a:spcPts val="2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0375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42950" indent="-280988" algn="l" defTabSz="914400" rtl="0" eaLnBrk="1" latinLnBrk="0" hangingPunct="1">
        <a:lnSpc>
          <a:spcPct val="100000"/>
        </a:lnSpc>
        <a:spcBef>
          <a:spcPts val="6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33463" indent="-290513" algn="l" defTabSz="914400" rtl="0" eaLnBrk="1" latinLnBrk="0" hangingPunct="1">
        <a:lnSpc>
          <a:spcPct val="100000"/>
        </a:lnSpc>
        <a:spcBef>
          <a:spcPts val="5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">
          <p15:clr>
            <a:srgbClr val="F26B43"/>
          </p15:clr>
        </p15:guide>
        <p15:guide id="9" pos="7296">
          <p15:clr>
            <a:srgbClr val="F26B43"/>
          </p15:clr>
        </p15:guide>
        <p15:guide id="10" orient="horz" pos="408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88">
          <p15:clr>
            <a:srgbClr val="F26B43"/>
          </p15:clr>
        </p15:guide>
        <p15:guide id="13" orient="horz" pos="1008">
          <p15:clr>
            <a:srgbClr val="F26B43"/>
          </p15:clr>
        </p15:guide>
        <p15:guide id="14" orient="horz" pos="39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F88E937-4529-48C3-9744-49132CEE69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0"/>
            </p:custDataLst>
            <p:extLst>
              <p:ext uri="{D42A27DB-BD31-4B8C-83A1-F6EECF244321}">
                <p14:modId xmlns:p14="http://schemas.microsoft.com/office/powerpoint/2010/main" val="3300657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1" imgW="395" imgH="394" progId="TCLayout.ActiveDocument.1">
                  <p:embed/>
                </p:oleObj>
              </mc:Choice>
              <mc:Fallback>
                <p:oleObj name="think-cell Slide" r:id="rId8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F88E937-4529-48C3-9744-49132CEE69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E7E9FA70-309C-4513-AA5C-F8E9D7A6A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1"/>
            <a:ext cx="10972800" cy="1216141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5CFE63-E3DA-4DAA-B663-2681396B9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610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Slide Number Placeholder 6">
            <a:extLst>
              <a:ext uri="{FF2B5EF4-FFF2-40B4-BE49-F238E27FC236}">
                <a16:creationId xmlns:a16="http://schemas.microsoft.com/office/drawing/2014/main" id="{20BABB60-2C30-4A0C-9D66-F7B681BBCE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4876" y="6400799"/>
            <a:ext cx="567524" cy="94147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defRPr sz="700">
                <a:solidFill>
                  <a:schemeClr val="bg2"/>
                </a:solidFill>
                <a:latin typeface="+mn-lt"/>
                <a:cs typeface="Aldhabi" panose="020B0604020202020204" pitchFamily="2" charset="-78"/>
              </a:defRPr>
            </a:lvl1pPr>
          </a:lstStyle>
          <a:p>
            <a:fld id="{9466916A-1A85-4539-B42A-68ACEF8D2CF9}" type="slidenum">
              <a:rPr lang="en-US" smtClean="0"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B0F8D4-780D-4C46-94A9-39370079EB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494946"/>
            <a:ext cx="7543800" cy="2265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|  Visa Consulting and Analytics  |  Hudson River CCU   |   Consumer Debit Assessment Final Readout  |  Visa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39586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5" r:id="rId1"/>
    <p:sldLayoutId id="2147484146" r:id="rId2"/>
    <p:sldLayoutId id="2147484147" r:id="rId3"/>
    <p:sldLayoutId id="2147484148" r:id="rId4"/>
    <p:sldLayoutId id="2147484149" r:id="rId5"/>
    <p:sldLayoutId id="2147484150" r:id="rId6"/>
    <p:sldLayoutId id="2147484151" r:id="rId7"/>
    <p:sldLayoutId id="2147484152" r:id="rId8"/>
    <p:sldLayoutId id="2147484153" r:id="rId9"/>
    <p:sldLayoutId id="2147484154" r:id="rId10"/>
    <p:sldLayoutId id="2147484155" r:id="rId11"/>
    <p:sldLayoutId id="2147484156" r:id="rId12"/>
    <p:sldLayoutId id="2147484157" r:id="rId13"/>
    <p:sldLayoutId id="2147484158" r:id="rId14"/>
    <p:sldLayoutId id="2147484159" r:id="rId15"/>
    <p:sldLayoutId id="2147484160" r:id="rId16"/>
    <p:sldLayoutId id="2147484161" r:id="rId17"/>
    <p:sldLayoutId id="2147484162" r:id="rId18"/>
    <p:sldLayoutId id="2147484163" r:id="rId19"/>
    <p:sldLayoutId id="2147484164" r:id="rId20"/>
    <p:sldLayoutId id="2147484165" r:id="rId21"/>
    <p:sldLayoutId id="2147484166" r:id="rId22"/>
    <p:sldLayoutId id="2147484167" r:id="rId23"/>
    <p:sldLayoutId id="2147484168" r:id="rId24"/>
    <p:sldLayoutId id="2147484169" r:id="rId25"/>
    <p:sldLayoutId id="2147484170" r:id="rId26"/>
    <p:sldLayoutId id="2147484171" r:id="rId27"/>
    <p:sldLayoutId id="2147484172" r:id="rId28"/>
    <p:sldLayoutId id="2147484173" r:id="rId29"/>
    <p:sldLayoutId id="2147484174" r:id="rId30"/>
    <p:sldLayoutId id="2147484175" r:id="rId31"/>
    <p:sldLayoutId id="2147484176" r:id="rId32"/>
    <p:sldLayoutId id="2147484177" r:id="rId33"/>
    <p:sldLayoutId id="2147484178" r:id="rId34"/>
    <p:sldLayoutId id="2147484179" r:id="rId35"/>
    <p:sldLayoutId id="2147484180" r:id="rId36"/>
    <p:sldLayoutId id="2147484181" r:id="rId37"/>
    <p:sldLayoutId id="2147484182" r:id="rId38"/>
    <p:sldLayoutId id="2147484183" r:id="rId39"/>
    <p:sldLayoutId id="2147484184" r:id="rId40"/>
    <p:sldLayoutId id="2147484185" r:id="rId41"/>
    <p:sldLayoutId id="2147484186" r:id="rId42"/>
    <p:sldLayoutId id="2147484187" r:id="rId43"/>
    <p:sldLayoutId id="2147484188" r:id="rId44"/>
    <p:sldLayoutId id="2147484189" r:id="rId45"/>
    <p:sldLayoutId id="2147484190" r:id="rId46"/>
    <p:sldLayoutId id="2147484191" r:id="rId47"/>
    <p:sldLayoutId id="2147484192" r:id="rId48"/>
    <p:sldLayoutId id="2147484193" r:id="rId49"/>
    <p:sldLayoutId id="2147484194" r:id="rId50"/>
    <p:sldLayoutId id="2147484195" r:id="rId51"/>
    <p:sldLayoutId id="2147484196" r:id="rId52"/>
    <p:sldLayoutId id="2147484197" r:id="rId53"/>
    <p:sldLayoutId id="2147484198" r:id="rId54"/>
    <p:sldLayoutId id="2147484199" r:id="rId55"/>
    <p:sldLayoutId id="2147484200" r:id="rId56"/>
    <p:sldLayoutId id="2147484201" r:id="rId57"/>
    <p:sldLayoutId id="2147484202" r:id="rId58"/>
    <p:sldLayoutId id="2147484203" r:id="rId59"/>
    <p:sldLayoutId id="2147484204" r:id="rId60"/>
    <p:sldLayoutId id="2147484205" r:id="rId61"/>
    <p:sldLayoutId id="2147484206" r:id="rId62"/>
    <p:sldLayoutId id="2147484207" r:id="rId63"/>
    <p:sldLayoutId id="2147484208" r:id="rId64"/>
    <p:sldLayoutId id="2147484209" r:id="rId65"/>
    <p:sldLayoutId id="2147484210" r:id="rId66"/>
    <p:sldLayoutId id="2147484211" r:id="rId67"/>
    <p:sldLayoutId id="2147484212" r:id="rId68"/>
    <p:sldLayoutId id="2147484213" r:id="rId69"/>
    <p:sldLayoutId id="2147484214" r:id="rId70"/>
    <p:sldLayoutId id="2147484215" r:id="rId71"/>
    <p:sldLayoutId id="2147484216" r:id="rId72"/>
    <p:sldLayoutId id="2147484217" r:id="rId73"/>
    <p:sldLayoutId id="2147484218" r:id="rId74"/>
    <p:sldLayoutId id="2147484219" r:id="rId75"/>
    <p:sldLayoutId id="2147484220" r:id="rId76"/>
    <p:sldLayoutId id="2147484221" r:id="rId77"/>
    <p:sldLayoutId id="2147484222" r:id="rId7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spcAft>
          <a:spcPts val="2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0375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42950" indent="-280988" algn="l" defTabSz="914400" rtl="0" eaLnBrk="1" latinLnBrk="0" hangingPunct="1">
        <a:lnSpc>
          <a:spcPct val="100000"/>
        </a:lnSpc>
        <a:spcBef>
          <a:spcPts val="6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33463" indent="-290513" algn="l" defTabSz="914400" rtl="0" eaLnBrk="1" latinLnBrk="0" hangingPunct="1">
        <a:lnSpc>
          <a:spcPct val="100000"/>
        </a:lnSpc>
        <a:spcBef>
          <a:spcPts val="5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">
          <p15:clr>
            <a:srgbClr val="F26B43"/>
          </p15:clr>
        </p15:guide>
        <p15:guide id="9" pos="7296">
          <p15:clr>
            <a:srgbClr val="F26B43"/>
          </p15:clr>
        </p15:guide>
        <p15:guide id="10" orient="horz" pos="408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88">
          <p15:clr>
            <a:srgbClr val="F26B43"/>
          </p15:clr>
        </p15:guide>
        <p15:guide id="13" orient="horz" pos="1008">
          <p15:clr>
            <a:srgbClr val="F26B43"/>
          </p15:clr>
        </p15:guide>
        <p15:guide id="14" orient="horz" pos="39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CEC69FC-E26F-41CE-A544-A380CD7BF1D0}"/>
              </a:ext>
            </a:extLst>
          </p:cNvPr>
          <p:cNvGraphicFramePr>
            <a:graphicFrameLocks noChangeAspect="1"/>
          </p:cNvGraphicFramePr>
          <p:nvPr>
            <p:custDataLst>
              <p:tags r:id="rId64"/>
            </p:custDataLst>
            <p:extLst>
              <p:ext uri="{D42A27DB-BD31-4B8C-83A1-F6EECF244321}">
                <p14:modId xmlns:p14="http://schemas.microsoft.com/office/powerpoint/2010/main" val="2261848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5" imgW="395" imgH="394" progId="TCLayout.ActiveDocument.1">
                  <p:embed/>
                </p:oleObj>
              </mc:Choice>
              <mc:Fallback>
                <p:oleObj name="think-cell Slide" r:id="rId6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CEC69FC-E26F-41CE-A544-A380CD7BF1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E7E9FA70-309C-4513-AA5C-F8E9D7A6A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1"/>
            <a:ext cx="10972800" cy="1216141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5CFE63-E3DA-4DAA-B663-2681396B9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610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Slide Number Placeholder 6">
            <a:extLst>
              <a:ext uri="{FF2B5EF4-FFF2-40B4-BE49-F238E27FC236}">
                <a16:creationId xmlns:a16="http://schemas.microsoft.com/office/drawing/2014/main" id="{20BABB60-2C30-4A0C-9D66-F7B681BBCE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4876" y="6400799"/>
            <a:ext cx="567524" cy="94147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defRPr sz="700">
                <a:solidFill>
                  <a:schemeClr val="bg2"/>
                </a:solidFill>
                <a:latin typeface="+mn-lt"/>
                <a:cs typeface="Aldhabi" panose="020B0604020202020204" pitchFamily="2" charset="-78"/>
              </a:defRPr>
            </a:lvl1pPr>
          </a:lstStyle>
          <a:p>
            <a:fld id="{7CF0D62C-B364-48C5-A934-2F757D9458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6915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5" r:id="rId1"/>
    <p:sldLayoutId id="2147484226" r:id="rId2"/>
    <p:sldLayoutId id="2147484227" r:id="rId3"/>
    <p:sldLayoutId id="2147484228" r:id="rId4"/>
    <p:sldLayoutId id="2147484229" r:id="rId5"/>
    <p:sldLayoutId id="2147484230" r:id="rId6"/>
    <p:sldLayoutId id="2147484231" r:id="rId7"/>
    <p:sldLayoutId id="2147484232" r:id="rId8"/>
    <p:sldLayoutId id="2147484233" r:id="rId9"/>
    <p:sldLayoutId id="2147484234" r:id="rId10"/>
    <p:sldLayoutId id="2147484235" r:id="rId11"/>
    <p:sldLayoutId id="2147484236" r:id="rId12"/>
    <p:sldLayoutId id="2147484237" r:id="rId13"/>
    <p:sldLayoutId id="2147484238" r:id="rId14"/>
    <p:sldLayoutId id="2147484239" r:id="rId15"/>
    <p:sldLayoutId id="2147484240" r:id="rId16"/>
    <p:sldLayoutId id="2147484241" r:id="rId17"/>
    <p:sldLayoutId id="2147484242" r:id="rId18"/>
    <p:sldLayoutId id="2147484243" r:id="rId19"/>
    <p:sldLayoutId id="2147484244" r:id="rId20"/>
    <p:sldLayoutId id="2147484245" r:id="rId21"/>
    <p:sldLayoutId id="2147484246" r:id="rId22"/>
    <p:sldLayoutId id="2147484247" r:id="rId23"/>
    <p:sldLayoutId id="2147484248" r:id="rId24"/>
    <p:sldLayoutId id="2147484249" r:id="rId25"/>
    <p:sldLayoutId id="2147484250" r:id="rId26"/>
    <p:sldLayoutId id="2147484251" r:id="rId27"/>
    <p:sldLayoutId id="2147484252" r:id="rId28"/>
    <p:sldLayoutId id="2147484253" r:id="rId29"/>
    <p:sldLayoutId id="2147484254" r:id="rId30"/>
    <p:sldLayoutId id="2147484255" r:id="rId31"/>
    <p:sldLayoutId id="2147484256" r:id="rId32"/>
    <p:sldLayoutId id="2147484257" r:id="rId33"/>
    <p:sldLayoutId id="2147484258" r:id="rId34"/>
    <p:sldLayoutId id="2147484259" r:id="rId35"/>
    <p:sldLayoutId id="2147484260" r:id="rId36"/>
    <p:sldLayoutId id="2147484261" r:id="rId37"/>
    <p:sldLayoutId id="2147484262" r:id="rId38"/>
    <p:sldLayoutId id="2147484263" r:id="rId39"/>
    <p:sldLayoutId id="2147484264" r:id="rId40"/>
    <p:sldLayoutId id="2147484265" r:id="rId41"/>
    <p:sldLayoutId id="2147484266" r:id="rId42"/>
    <p:sldLayoutId id="2147484267" r:id="rId43"/>
    <p:sldLayoutId id="2147484268" r:id="rId44"/>
    <p:sldLayoutId id="2147484269" r:id="rId45"/>
    <p:sldLayoutId id="2147484270" r:id="rId46"/>
    <p:sldLayoutId id="2147484271" r:id="rId47"/>
    <p:sldLayoutId id="2147484272" r:id="rId48"/>
    <p:sldLayoutId id="2147484273" r:id="rId49"/>
    <p:sldLayoutId id="2147484274" r:id="rId50"/>
    <p:sldLayoutId id="2147484275" r:id="rId51"/>
    <p:sldLayoutId id="2147484276" r:id="rId52"/>
    <p:sldLayoutId id="2147484277" r:id="rId53"/>
    <p:sldLayoutId id="2147484278" r:id="rId54"/>
    <p:sldLayoutId id="2147484279" r:id="rId55"/>
    <p:sldLayoutId id="2147484280" r:id="rId56"/>
    <p:sldLayoutId id="2147484281" r:id="rId57"/>
    <p:sldLayoutId id="2147484282" r:id="rId58"/>
    <p:sldLayoutId id="2147484283" r:id="rId59"/>
    <p:sldLayoutId id="2147484284" r:id="rId60"/>
    <p:sldLayoutId id="2147484285" r:id="rId61"/>
    <p:sldLayoutId id="2147484286" r:id="rId6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spcAft>
          <a:spcPts val="2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0375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42950" indent="-280988" algn="l" defTabSz="914400" rtl="0" eaLnBrk="1" latinLnBrk="0" hangingPunct="1">
        <a:lnSpc>
          <a:spcPct val="100000"/>
        </a:lnSpc>
        <a:spcBef>
          <a:spcPts val="6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33463" indent="-290513" algn="l" defTabSz="914400" rtl="0" eaLnBrk="1" latinLnBrk="0" hangingPunct="1">
        <a:lnSpc>
          <a:spcPct val="100000"/>
        </a:lnSpc>
        <a:spcBef>
          <a:spcPts val="5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">
          <p15:clr>
            <a:srgbClr val="F26B43"/>
          </p15:clr>
        </p15:guide>
        <p15:guide id="9" pos="7296">
          <p15:clr>
            <a:srgbClr val="F26B43"/>
          </p15:clr>
        </p15:guide>
        <p15:guide id="10" orient="horz" pos="408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88">
          <p15:clr>
            <a:srgbClr val="F26B43"/>
          </p15:clr>
        </p15:guide>
        <p15:guide id="13" orient="horz" pos="1008">
          <p15:clr>
            <a:srgbClr val="F26B43"/>
          </p15:clr>
        </p15:guide>
        <p15:guide id="14" orient="horz" pos="391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AA0957-8BBE-40A1-8D81-C643AB6A3FD3}"/>
              </a:ext>
            </a:extLst>
          </p:cNvPr>
          <p:cNvGraphicFramePr>
            <a:graphicFrameLocks noChangeAspect="1"/>
          </p:cNvGraphicFramePr>
          <p:nvPr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2743129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82" imgH="378" progId="TCLayout.ActiveDocument.1">
                  <p:embed/>
                </p:oleObj>
              </mc:Choice>
              <mc:Fallback>
                <p:oleObj name="think-cell Slide" r:id="rId40" imgW="382" imgH="3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AA0957-8BBE-40A1-8D81-C643AB6A3F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E7E9FA70-309C-4513-AA5C-F8E9D7A6A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1"/>
            <a:ext cx="10972800" cy="1216141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5CFE63-E3DA-4DAA-B663-2681396B9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610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Slide Number Placeholder 6">
            <a:extLst>
              <a:ext uri="{FF2B5EF4-FFF2-40B4-BE49-F238E27FC236}">
                <a16:creationId xmlns:a16="http://schemas.microsoft.com/office/drawing/2014/main" id="{20BABB60-2C30-4A0C-9D66-F7B681BBCE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4876" y="6400799"/>
            <a:ext cx="567524" cy="94147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defRPr sz="700">
                <a:solidFill>
                  <a:schemeClr val="bg2"/>
                </a:solidFill>
                <a:latin typeface="+mn-lt"/>
                <a:cs typeface="Aldhabi" panose="020B0604020202020204" pitchFamily="2" charset="-78"/>
              </a:defRPr>
            </a:lvl1pPr>
          </a:lstStyle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FA326248-0F97-48D9-A2A0-31FCD05D44AF}"/>
              </a:ext>
            </a:extLst>
          </p:cNvPr>
          <p:cNvPicPr>
            <a:picLocks noChangeAspect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131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2" r:id="rId1"/>
    <p:sldLayoutId id="2147484323" r:id="rId2"/>
    <p:sldLayoutId id="2147484324" r:id="rId3"/>
    <p:sldLayoutId id="2147484325" r:id="rId4"/>
    <p:sldLayoutId id="2147484326" r:id="rId5"/>
    <p:sldLayoutId id="2147484327" r:id="rId6"/>
    <p:sldLayoutId id="2147484328" r:id="rId7"/>
    <p:sldLayoutId id="2147484329" r:id="rId8"/>
    <p:sldLayoutId id="2147484330" r:id="rId9"/>
    <p:sldLayoutId id="2147484331" r:id="rId10"/>
    <p:sldLayoutId id="2147484332" r:id="rId11"/>
    <p:sldLayoutId id="2147484333" r:id="rId12"/>
    <p:sldLayoutId id="2147484334" r:id="rId13"/>
    <p:sldLayoutId id="2147484335" r:id="rId14"/>
    <p:sldLayoutId id="2147484336" r:id="rId15"/>
    <p:sldLayoutId id="2147484337" r:id="rId16"/>
    <p:sldLayoutId id="2147484338" r:id="rId17"/>
    <p:sldLayoutId id="2147484339" r:id="rId18"/>
    <p:sldLayoutId id="2147484340" r:id="rId19"/>
    <p:sldLayoutId id="2147484341" r:id="rId20"/>
    <p:sldLayoutId id="2147484342" r:id="rId21"/>
    <p:sldLayoutId id="2147484343" r:id="rId22"/>
    <p:sldLayoutId id="2147484344" r:id="rId23"/>
    <p:sldLayoutId id="2147484345" r:id="rId24"/>
    <p:sldLayoutId id="2147484346" r:id="rId25"/>
    <p:sldLayoutId id="2147484347" r:id="rId26"/>
    <p:sldLayoutId id="2147484349" r:id="rId27"/>
    <p:sldLayoutId id="2147484350" r:id="rId28"/>
    <p:sldLayoutId id="2147484351" r:id="rId29"/>
    <p:sldLayoutId id="2147484352" r:id="rId30"/>
    <p:sldLayoutId id="2147484353" r:id="rId31"/>
    <p:sldLayoutId id="2147484354" r:id="rId32"/>
    <p:sldLayoutId id="2147484355" r:id="rId33"/>
    <p:sldLayoutId id="2147484356" r:id="rId34"/>
    <p:sldLayoutId id="2147484357" r:id="rId35"/>
    <p:sldLayoutId id="2147484358" r:id="rId36"/>
    <p:sldLayoutId id="2147484359" r:id="rId37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spcAft>
          <a:spcPts val="2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0375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42950" indent="-280988" algn="l" defTabSz="914400" rtl="0" eaLnBrk="1" latinLnBrk="0" hangingPunct="1">
        <a:lnSpc>
          <a:spcPct val="100000"/>
        </a:lnSpc>
        <a:spcBef>
          <a:spcPts val="6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33463" indent="-290513" algn="l" defTabSz="914400" rtl="0" eaLnBrk="1" latinLnBrk="0" hangingPunct="1">
        <a:lnSpc>
          <a:spcPct val="100000"/>
        </a:lnSpc>
        <a:spcBef>
          <a:spcPts val="5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">
          <p15:clr>
            <a:srgbClr val="F26B43"/>
          </p15:clr>
        </p15:guide>
        <p15:guide id="9" pos="7296">
          <p15:clr>
            <a:srgbClr val="F26B43"/>
          </p15:clr>
        </p15:guide>
        <p15:guide id="10" orient="horz" pos="408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88">
          <p15:clr>
            <a:srgbClr val="F26B43"/>
          </p15:clr>
        </p15:guide>
        <p15:guide id="13" orient="horz" pos="1008">
          <p15:clr>
            <a:srgbClr val="F26B43"/>
          </p15:clr>
        </p15:guide>
        <p15:guide id="14" orient="horz" pos="3912">
          <p15:clr>
            <a:srgbClr val="F26B43"/>
          </p15:clr>
        </p15:guide>
      </p15:sldGuideLst>
    </p:ext>
  </p:extLst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9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FF&quot; g=&quot;D9&quot; b=&quot;75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bKxb6184pgYo9fDXr8l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20MeB9RZwoDLlldnXE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zaAX4LiIQepXXUzz8A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bKxb6184pgYo9fDXr8l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20MeB9RZwoDLlldnXE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zaAX4LiIQepXXUzz8A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WzCQwKTwB0Wl9TPzfp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Xt6pSrip9dowp1gWJyK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gytoksbjVfBtw5FK47_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4Ta87uEIKtOpHxeg1VJ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egRd5vgPBpd5mPqeFPg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lv0UTrRGCScfCvk.NRH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70Oa09jPhFPziHg69gk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nFO_jgjksJvTt6..64q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U5M9in51gYeihaBAuuH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CA 2021 Theme_v2">
  <a:themeElements>
    <a:clrScheme name="Visa 2021">
      <a:dk1>
        <a:srgbClr val="000000"/>
      </a:dk1>
      <a:lt1>
        <a:srgbClr val="FFFFFF"/>
      </a:lt1>
      <a:dk2>
        <a:srgbClr val="F0F0F0"/>
      </a:dk2>
      <a:lt2>
        <a:srgbClr val="96918D"/>
      </a:lt2>
      <a:accent1>
        <a:srgbClr val="1434CB"/>
      </a:accent1>
      <a:accent2>
        <a:srgbClr val="FCC015"/>
      </a:accent2>
      <a:accent3>
        <a:srgbClr val="021E4C"/>
      </a:accent3>
      <a:accent4>
        <a:srgbClr val="2B94F5"/>
      </a:accent4>
      <a:accent5>
        <a:srgbClr val="96A6F4"/>
      </a:accent5>
      <a:accent6>
        <a:srgbClr val="CAD2F9"/>
      </a:accent6>
      <a:hlink>
        <a:srgbClr val="F7A105"/>
      </a:hlink>
      <a:folHlink>
        <a:srgbClr val="BFBFBF"/>
      </a:folHlink>
    </a:clrScheme>
    <a:fontScheme name="Visa Dialect">
      <a:majorFont>
        <a:latin typeface="Visa Dialect Semibold"/>
        <a:ea typeface=""/>
        <a:cs typeface=""/>
      </a:majorFont>
      <a:minorFont>
        <a:latin typeface="Visa Dialect Regular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Visa Blue">
      <a:srgbClr val="1434CB"/>
    </a:custClr>
    <a:custClr name="Visa Yellow">
      <a:srgbClr val="FCC015"/>
    </a:custClr>
    <a:custClr name="Visa Dark Blue">
      <a:srgbClr val="021E4C"/>
    </a:custClr>
    <a:custClr name="Ocean Blue">
      <a:srgbClr val="2B94F5"/>
    </a:custClr>
    <a:custClr name="Visa Blue 40%">
      <a:srgbClr val="97A7F5"/>
    </a:custClr>
    <a:custClr name="Visa Blue 20%">
      <a:srgbClr val="CBD3FA"/>
    </a:custClr>
    <a:custClr name="Orange">
      <a:srgbClr val="F7A105"/>
    </a:custClr>
    <a:custClr name="Light Gray">
      <a:srgbClr val="C0BDBB"/>
    </a:custClr>
    <a:custClr name="blank">
      <a:srgbClr val="FFFFFF"/>
    </a:custClr>
    <a:custClr name="blank">
      <a:srgbClr val="FFFFFF"/>
    </a:custClr>
    <a:custClr name="Visa Blue">
      <a:srgbClr val="1434CB"/>
    </a:custClr>
    <a:custClr name="Visa Blue 60%">
      <a:srgbClr val="627BF0"/>
    </a:custClr>
    <a:custClr name="Visa Blue 40%">
      <a:srgbClr val="97A7F5"/>
    </a:custClr>
    <a:custClr name="Visa Blue 20%">
      <a:srgbClr val="CBD3F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VCA 2021 Theme_v2" id="{5BA965BF-D64E-4C64-A27A-B1BB2BC19090}" vid="{1E9A1527-EB27-4C78-BEBE-03FAC353A79D}"/>
    </a:ext>
  </a:extLst>
</a:theme>
</file>

<file path=ppt/theme/theme2.xml><?xml version="1.0" encoding="utf-8"?>
<a:theme xmlns:a="http://schemas.openxmlformats.org/drawingml/2006/main" name="Visa Master Theme">
  <a:themeElements>
    <a:clrScheme name="Visa 2021">
      <a:dk1>
        <a:srgbClr val="000000"/>
      </a:dk1>
      <a:lt1>
        <a:srgbClr val="FFFFFF"/>
      </a:lt1>
      <a:dk2>
        <a:srgbClr val="F0F0F0"/>
      </a:dk2>
      <a:lt2>
        <a:srgbClr val="96918D"/>
      </a:lt2>
      <a:accent1>
        <a:srgbClr val="1434CB"/>
      </a:accent1>
      <a:accent2>
        <a:srgbClr val="FCC015"/>
      </a:accent2>
      <a:accent3>
        <a:srgbClr val="021E4C"/>
      </a:accent3>
      <a:accent4>
        <a:srgbClr val="2B94F5"/>
      </a:accent4>
      <a:accent5>
        <a:srgbClr val="96A6F4"/>
      </a:accent5>
      <a:accent6>
        <a:srgbClr val="CAD2F9"/>
      </a:accent6>
      <a:hlink>
        <a:srgbClr val="F7A105"/>
      </a:hlink>
      <a:folHlink>
        <a:srgbClr val="BFBFBF"/>
      </a:folHlink>
    </a:clrScheme>
    <a:fontScheme name="Visa Dialect">
      <a:majorFont>
        <a:latin typeface="Visa Dialect Semibold"/>
        <a:ea typeface=""/>
        <a:cs typeface=""/>
      </a:majorFont>
      <a:minorFont>
        <a:latin typeface="Visa Dialect Regular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Visa Blue">
      <a:srgbClr val="1434CB"/>
    </a:custClr>
    <a:custClr name="Visa Yellow">
      <a:srgbClr val="FCC015"/>
    </a:custClr>
    <a:custClr name="Visa Dark Blue">
      <a:srgbClr val="021E4C"/>
    </a:custClr>
    <a:custClr name="Ocean Blue">
      <a:srgbClr val="2B94F5"/>
    </a:custClr>
    <a:custClr name="Visa Blue 40%">
      <a:srgbClr val="97A7F5"/>
    </a:custClr>
    <a:custClr name="Visa Blue 20%">
      <a:srgbClr val="CBD3FA"/>
    </a:custClr>
    <a:custClr name="Orange">
      <a:srgbClr val="F7A105"/>
    </a:custClr>
    <a:custClr name="Light Gray">
      <a:srgbClr val="C0BDBB"/>
    </a:custClr>
    <a:custClr name="blank">
      <a:srgbClr val="FFFFFF"/>
    </a:custClr>
    <a:custClr name="blank">
      <a:srgbClr val="FFFFFF"/>
    </a:custClr>
    <a:custClr name="Visa Blue">
      <a:srgbClr val="1434CB"/>
    </a:custClr>
    <a:custClr name="Visa Blue 60%">
      <a:srgbClr val="627BF0"/>
    </a:custClr>
    <a:custClr name="Visa Blue 40%">
      <a:srgbClr val="97A7F5"/>
    </a:custClr>
    <a:custClr name="Visa Blue 20%">
      <a:srgbClr val="CBD3F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Visa Master Theme" id="{94EE28B2-F449-425B-AE66-513BFB85841C}" vid="{554E5B1D-27A5-4DED-B71D-FCA8A9B718D2}"/>
    </a:ext>
  </a:extLst>
</a:theme>
</file>

<file path=ppt/theme/theme3.xml><?xml version="1.0" encoding="utf-8"?>
<a:theme xmlns:a="http://schemas.openxmlformats.org/drawingml/2006/main" name="1_Visa Master Theme">
  <a:themeElements>
    <a:clrScheme name="Visa 2021">
      <a:dk1>
        <a:srgbClr val="000000"/>
      </a:dk1>
      <a:lt1>
        <a:srgbClr val="FFFFFF"/>
      </a:lt1>
      <a:dk2>
        <a:srgbClr val="F0F0F0"/>
      </a:dk2>
      <a:lt2>
        <a:srgbClr val="96918D"/>
      </a:lt2>
      <a:accent1>
        <a:srgbClr val="1434CB"/>
      </a:accent1>
      <a:accent2>
        <a:srgbClr val="FCC015"/>
      </a:accent2>
      <a:accent3>
        <a:srgbClr val="021E4C"/>
      </a:accent3>
      <a:accent4>
        <a:srgbClr val="2B94F5"/>
      </a:accent4>
      <a:accent5>
        <a:srgbClr val="96A6F4"/>
      </a:accent5>
      <a:accent6>
        <a:srgbClr val="CAD2F9"/>
      </a:accent6>
      <a:hlink>
        <a:srgbClr val="F7A105"/>
      </a:hlink>
      <a:folHlink>
        <a:srgbClr val="BFBFBF"/>
      </a:folHlink>
    </a:clrScheme>
    <a:fontScheme name="Visa Dialect">
      <a:majorFont>
        <a:latin typeface="Visa Dialect Semibold"/>
        <a:ea typeface=""/>
        <a:cs typeface=""/>
      </a:majorFont>
      <a:minorFont>
        <a:latin typeface="Visa Dialect Regular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Visa Blue">
      <a:srgbClr val="1434CB"/>
    </a:custClr>
    <a:custClr name="Visa Yellow">
      <a:srgbClr val="FCC015"/>
    </a:custClr>
    <a:custClr name="Visa Dark Blue">
      <a:srgbClr val="021E4C"/>
    </a:custClr>
    <a:custClr name="Ocean Blue">
      <a:srgbClr val="2B94F5"/>
    </a:custClr>
    <a:custClr name="Visa Blue 40%">
      <a:srgbClr val="97A7F5"/>
    </a:custClr>
    <a:custClr name="Visa Blue 20%">
      <a:srgbClr val="CBD3FA"/>
    </a:custClr>
    <a:custClr name="Orange">
      <a:srgbClr val="F7A105"/>
    </a:custClr>
    <a:custClr name="Light Gray">
      <a:srgbClr val="C0BDBB"/>
    </a:custClr>
    <a:custClr name="blank">
      <a:srgbClr val="FFFFFF"/>
    </a:custClr>
    <a:custClr name="blank">
      <a:srgbClr val="FFFFFF"/>
    </a:custClr>
    <a:custClr name="Visa Blue">
      <a:srgbClr val="1434CB"/>
    </a:custClr>
    <a:custClr name="Visa Blue 60%">
      <a:srgbClr val="627BF0"/>
    </a:custClr>
    <a:custClr name="Visa Blue 40%">
      <a:srgbClr val="97A7F5"/>
    </a:custClr>
    <a:custClr name="Visa Blue 20%">
      <a:srgbClr val="CBD3F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Visa Master Theme" id="{94EE28B2-F449-425B-AE66-513BFB85841C}" vid="{554E5B1D-27A5-4DED-B71D-FCA8A9B718D2}"/>
    </a:ext>
  </a:extLst>
</a:theme>
</file>

<file path=ppt/theme/theme4.xml><?xml version="1.0" encoding="utf-8"?>
<a:theme xmlns:a="http://schemas.openxmlformats.org/drawingml/2006/main" name="5_Visa Theme">
  <a:themeElements>
    <a:clrScheme name="Visa 2021">
      <a:dk1>
        <a:srgbClr val="000000"/>
      </a:dk1>
      <a:lt1>
        <a:srgbClr val="FFFFFF"/>
      </a:lt1>
      <a:dk2>
        <a:srgbClr val="F0F0F0"/>
      </a:dk2>
      <a:lt2>
        <a:srgbClr val="96918D"/>
      </a:lt2>
      <a:accent1>
        <a:srgbClr val="1434CB"/>
      </a:accent1>
      <a:accent2>
        <a:srgbClr val="FCC015"/>
      </a:accent2>
      <a:accent3>
        <a:srgbClr val="021E4C"/>
      </a:accent3>
      <a:accent4>
        <a:srgbClr val="2B94F5"/>
      </a:accent4>
      <a:accent5>
        <a:srgbClr val="96A6F4"/>
      </a:accent5>
      <a:accent6>
        <a:srgbClr val="CAD2F9"/>
      </a:accent6>
      <a:hlink>
        <a:srgbClr val="F7A105"/>
      </a:hlink>
      <a:folHlink>
        <a:srgbClr val="BFBFBF"/>
      </a:folHlink>
    </a:clrScheme>
    <a:fontScheme name="Visa Dialect">
      <a:majorFont>
        <a:latin typeface="Visa Dialect Semibold"/>
        <a:ea typeface=""/>
        <a:cs typeface=""/>
      </a:majorFont>
      <a:minorFont>
        <a:latin typeface="Visa Dialect Regular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Visa Blue">
      <a:srgbClr val="1434CB"/>
    </a:custClr>
    <a:custClr name="Visa Yellow">
      <a:srgbClr val="FCC015"/>
    </a:custClr>
    <a:custClr name="Visa Dark Blue">
      <a:srgbClr val="021E4C"/>
    </a:custClr>
    <a:custClr name="Ocean Blue">
      <a:srgbClr val="2B94F5"/>
    </a:custClr>
    <a:custClr name="Visa Blue 40%">
      <a:srgbClr val="97A7F5"/>
    </a:custClr>
    <a:custClr name="Visa Blue 20%">
      <a:srgbClr val="CBD3FA"/>
    </a:custClr>
    <a:custClr name="Orange">
      <a:srgbClr val="F7A105"/>
    </a:custClr>
    <a:custClr name="Light Gray">
      <a:srgbClr val="C0BDBB"/>
    </a:custClr>
    <a:custClr name="blank">
      <a:srgbClr val="FFFFFF"/>
    </a:custClr>
    <a:custClr name="blank">
      <a:srgbClr val="FFFFFF"/>
    </a:custClr>
    <a:custClr name="Visa Blue">
      <a:srgbClr val="1434CB"/>
    </a:custClr>
    <a:custClr name="Visa Blue 60%">
      <a:srgbClr val="627BF0"/>
    </a:custClr>
    <a:custClr name="Visa Blue 40%">
      <a:srgbClr val="97A7F5"/>
    </a:custClr>
    <a:custClr name="Visa Blue 20%">
      <a:srgbClr val="CBD3F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Presentation1" id="{86DFE2CD-86D2-4CAB-BFC0-3EDC025F3DA2}" vid="{8ABF057F-1332-4D09-A6E5-2B672FF0E9FD}"/>
    </a:ext>
  </a:extLst>
</a:theme>
</file>

<file path=ppt/theme/theme5.xml><?xml version="1.0" encoding="utf-8"?>
<a:theme xmlns:a="http://schemas.openxmlformats.org/drawingml/2006/main" name="Visa Theme">
  <a:themeElements>
    <a:clrScheme name="Visa 2021">
      <a:dk1>
        <a:srgbClr val="000000"/>
      </a:dk1>
      <a:lt1>
        <a:srgbClr val="FFFFFF"/>
      </a:lt1>
      <a:dk2>
        <a:srgbClr val="F0F0F0"/>
      </a:dk2>
      <a:lt2>
        <a:srgbClr val="96918D"/>
      </a:lt2>
      <a:accent1>
        <a:srgbClr val="1434CB"/>
      </a:accent1>
      <a:accent2>
        <a:srgbClr val="FCC015"/>
      </a:accent2>
      <a:accent3>
        <a:srgbClr val="021E4C"/>
      </a:accent3>
      <a:accent4>
        <a:srgbClr val="2B94F5"/>
      </a:accent4>
      <a:accent5>
        <a:srgbClr val="96A6F4"/>
      </a:accent5>
      <a:accent6>
        <a:srgbClr val="CAD2F9"/>
      </a:accent6>
      <a:hlink>
        <a:srgbClr val="F7A105"/>
      </a:hlink>
      <a:folHlink>
        <a:srgbClr val="BFBFBF"/>
      </a:folHlink>
    </a:clrScheme>
    <a:fontScheme name="Visa Dialect">
      <a:majorFont>
        <a:latin typeface="Visa Dialect Semibold"/>
        <a:ea typeface=""/>
        <a:cs typeface=""/>
      </a:majorFont>
      <a:minorFont>
        <a:latin typeface="Visa Dialect Regular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Visa Blue">
      <a:srgbClr val="1434CB"/>
    </a:custClr>
    <a:custClr name="Visa Yellow">
      <a:srgbClr val="FCC015"/>
    </a:custClr>
    <a:custClr name="Visa Dark Blue">
      <a:srgbClr val="021E4C"/>
    </a:custClr>
    <a:custClr name="Ocean Blue">
      <a:srgbClr val="2B94F5"/>
    </a:custClr>
    <a:custClr name="Visa Blue 40%">
      <a:srgbClr val="97A7F5"/>
    </a:custClr>
    <a:custClr name="Visa Blue 20%">
      <a:srgbClr val="CBD3FA"/>
    </a:custClr>
    <a:custClr name="Orange">
      <a:srgbClr val="F7A105"/>
    </a:custClr>
    <a:custClr name="Light Gray">
      <a:srgbClr val="C0BDBB"/>
    </a:custClr>
    <a:custClr name="blank">
      <a:srgbClr val="FFFFFF"/>
    </a:custClr>
    <a:custClr name="blank">
      <a:srgbClr val="FFFFFF"/>
    </a:custClr>
    <a:custClr name="Visa Blue">
      <a:srgbClr val="1434CB"/>
    </a:custClr>
    <a:custClr name="Visa Blue 60%">
      <a:srgbClr val="627BF0"/>
    </a:custClr>
    <a:custClr name="Visa Blue 40%">
      <a:srgbClr val="97A7F5"/>
    </a:custClr>
    <a:custClr name="Visa Blue 20%">
      <a:srgbClr val="CBD3F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VCA_16x9_Template_vF  -  Read-Only" id="{BD85E8B3-0F52-48C3-B087-ABB471C347C4}" vid="{32D1E4F5-30D8-4703-B977-3B98B181F459}"/>
    </a:ext>
  </a:extLst>
</a:theme>
</file>

<file path=ppt/theme/theme6.xml><?xml version="1.0" encoding="utf-8"?>
<a:theme xmlns:a="http://schemas.openxmlformats.org/drawingml/2006/main" name="VCA 2021 Theme">
  <a:themeElements>
    <a:clrScheme name="Visa 2021">
      <a:dk1>
        <a:srgbClr val="000000"/>
      </a:dk1>
      <a:lt1>
        <a:srgbClr val="FFFFFF"/>
      </a:lt1>
      <a:dk2>
        <a:srgbClr val="F0F0F0"/>
      </a:dk2>
      <a:lt2>
        <a:srgbClr val="96918D"/>
      </a:lt2>
      <a:accent1>
        <a:srgbClr val="1434CB"/>
      </a:accent1>
      <a:accent2>
        <a:srgbClr val="FCC015"/>
      </a:accent2>
      <a:accent3>
        <a:srgbClr val="021E4C"/>
      </a:accent3>
      <a:accent4>
        <a:srgbClr val="2B94F5"/>
      </a:accent4>
      <a:accent5>
        <a:srgbClr val="96A6F4"/>
      </a:accent5>
      <a:accent6>
        <a:srgbClr val="CAD2F9"/>
      </a:accent6>
      <a:hlink>
        <a:srgbClr val="F7A105"/>
      </a:hlink>
      <a:folHlink>
        <a:srgbClr val="BFBFBF"/>
      </a:folHlink>
    </a:clrScheme>
    <a:fontScheme name="Visa Dialect">
      <a:majorFont>
        <a:latin typeface="Visa Dialect Semibold"/>
        <a:ea typeface=""/>
        <a:cs typeface=""/>
      </a:majorFont>
      <a:minorFont>
        <a:latin typeface="Visa Dialect Regular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Visa Blue">
      <a:srgbClr val="1434CB"/>
    </a:custClr>
    <a:custClr name="Visa Yellow">
      <a:srgbClr val="FCC015"/>
    </a:custClr>
    <a:custClr name="Visa Dark Blue">
      <a:srgbClr val="021E4C"/>
    </a:custClr>
    <a:custClr name="Ocean Blue">
      <a:srgbClr val="2B94F5"/>
    </a:custClr>
    <a:custClr name="Visa Blue 40%">
      <a:srgbClr val="97A7F5"/>
    </a:custClr>
    <a:custClr name="Visa Blue 20%">
      <a:srgbClr val="CBD3FA"/>
    </a:custClr>
    <a:custClr name="Orange">
      <a:srgbClr val="F7A105"/>
    </a:custClr>
    <a:custClr name="Light Gray">
      <a:srgbClr val="C0BDBB"/>
    </a:custClr>
    <a:custClr name="blank">
      <a:srgbClr val="FFFFFF"/>
    </a:custClr>
    <a:custClr name="blank">
      <a:srgbClr val="FFFFFF"/>
    </a:custClr>
    <a:custClr name="Visa Blue">
      <a:srgbClr val="1434CB"/>
    </a:custClr>
    <a:custClr name="Visa Blue 60%">
      <a:srgbClr val="627BF0"/>
    </a:custClr>
    <a:custClr name="Visa Blue 40%">
      <a:srgbClr val="97A7F5"/>
    </a:custClr>
    <a:custClr name="Visa Blue 20%">
      <a:srgbClr val="CBD3F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VCA 2021 Theme" id="{9CF2215E-6E42-4E36-8D4C-37077EB3CC3A}" vid="{64891992-BC6F-46AB-8740-B9083C966EA7}"/>
    </a:ext>
  </a:extLst>
</a:theme>
</file>

<file path=ppt/theme/theme7.xml><?xml version="1.0" encoding="utf-8"?>
<a:theme xmlns:a="http://schemas.openxmlformats.org/drawingml/2006/main" name="2_Visa Master Theme">
  <a:themeElements>
    <a:clrScheme name="Visa 2021">
      <a:dk1>
        <a:srgbClr val="000000"/>
      </a:dk1>
      <a:lt1>
        <a:srgbClr val="FFFFFF"/>
      </a:lt1>
      <a:dk2>
        <a:srgbClr val="F0F0F0"/>
      </a:dk2>
      <a:lt2>
        <a:srgbClr val="96918D"/>
      </a:lt2>
      <a:accent1>
        <a:srgbClr val="1434CB"/>
      </a:accent1>
      <a:accent2>
        <a:srgbClr val="FCC015"/>
      </a:accent2>
      <a:accent3>
        <a:srgbClr val="021E4C"/>
      </a:accent3>
      <a:accent4>
        <a:srgbClr val="2B94F5"/>
      </a:accent4>
      <a:accent5>
        <a:srgbClr val="96A6F4"/>
      </a:accent5>
      <a:accent6>
        <a:srgbClr val="CAD2F9"/>
      </a:accent6>
      <a:hlink>
        <a:srgbClr val="F7A105"/>
      </a:hlink>
      <a:folHlink>
        <a:srgbClr val="BFBFBF"/>
      </a:folHlink>
    </a:clrScheme>
    <a:fontScheme name="Visa Dialect">
      <a:majorFont>
        <a:latin typeface="Visa Dialect Semibold"/>
        <a:ea typeface=""/>
        <a:cs typeface=""/>
      </a:majorFont>
      <a:minorFont>
        <a:latin typeface="Visa Dialect Regular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Visa Blue">
      <a:srgbClr val="1434CB"/>
    </a:custClr>
    <a:custClr name="Visa Yellow">
      <a:srgbClr val="FCC015"/>
    </a:custClr>
    <a:custClr name="Visa Dark Blue">
      <a:srgbClr val="021E4C"/>
    </a:custClr>
    <a:custClr name="Ocean Blue">
      <a:srgbClr val="2B94F5"/>
    </a:custClr>
    <a:custClr name="Visa Blue 40%">
      <a:srgbClr val="97A7F5"/>
    </a:custClr>
    <a:custClr name="Visa Blue 20%">
      <a:srgbClr val="CBD3FA"/>
    </a:custClr>
    <a:custClr name="Orange">
      <a:srgbClr val="F7A105"/>
    </a:custClr>
    <a:custClr name="Light Gray">
      <a:srgbClr val="C0BDBB"/>
    </a:custClr>
    <a:custClr name="blank">
      <a:srgbClr val="FFFFFF"/>
    </a:custClr>
    <a:custClr name="blank">
      <a:srgbClr val="FFFFFF"/>
    </a:custClr>
    <a:custClr name="Visa Blue">
      <a:srgbClr val="1434CB"/>
    </a:custClr>
    <a:custClr name="Visa Blue 60%">
      <a:srgbClr val="627BF0"/>
    </a:custClr>
    <a:custClr name="Visa Blue 40%">
      <a:srgbClr val="97A7F5"/>
    </a:custClr>
    <a:custClr name="Visa Blue 20%">
      <a:srgbClr val="CBD3F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Visa Master Theme" id="{94EE28B2-F449-425B-AE66-513BFB85841C}" vid="{554E5B1D-27A5-4DED-B71D-FCA8A9B718D2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1F698197ECBB459E7DE073A6AA6D20" ma:contentTypeVersion="10" ma:contentTypeDescription="Create a new document." ma:contentTypeScope="" ma:versionID="9e9a8b5b0da978717f429eeabaeeb892">
  <xsd:schema xmlns:xsd="http://www.w3.org/2001/XMLSchema" xmlns:xs="http://www.w3.org/2001/XMLSchema" xmlns:p="http://schemas.microsoft.com/office/2006/metadata/properties" xmlns:ns2="c11c1625-d45f-4cae-993b-a7c42bc816ea" xmlns:ns3="474538fb-c54f-410b-8eb8-cedc76cc4ead" targetNamespace="http://schemas.microsoft.com/office/2006/metadata/properties" ma:root="true" ma:fieldsID="9dfea52d56185defca41d7213aa5541e" ns2:_="" ns3:_="">
    <xsd:import namespace="c11c1625-d45f-4cae-993b-a7c42bc816ea"/>
    <xsd:import namespace="474538fb-c54f-410b-8eb8-cedc76cc4ea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1c1625-d45f-4cae-993b-a7c42bc816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4538fb-c54f-410b-8eb8-cedc76cc4ead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c11c1625-d45f-4cae-993b-a7c42bc816ea" xsi:nil="true"/>
    <SharedWithUsers xmlns="474538fb-c54f-410b-8eb8-cedc76cc4ead">
      <UserInfo>
        <DisplayName>Mack, Susan</DisplayName>
        <AccountId>345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49E5AA9-1C6E-4505-8E76-272650FC18A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11c1625-d45f-4cae-993b-a7c42bc816ea"/>
    <ds:schemaRef ds:uri="474538fb-c54f-410b-8eb8-cedc76cc4ea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1C8AA66-70AB-40FC-86FA-2EE026014853}">
  <ds:schemaRefs>
    <ds:schemaRef ds:uri="http://schemas.microsoft.com/office/2006/metadata/properties"/>
    <ds:schemaRef ds:uri="474538fb-c54f-410b-8eb8-cedc76cc4ead"/>
    <ds:schemaRef ds:uri="http://www.w3.org/XML/1998/namespace"/>
    <ds:schemaRef ds:uri="c11c1625-d45f-4cae-993b-a7c42bc816ea"/>
    <ds:schemaRef ds:uri="http://purl.org/dc/elements/1.1/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A476AC06-BF2D-4DDA-A560-A591004DC3C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890</TotalTime>
  <Words>0</Words>
  <Application>Microsoft Macintosh PowerPoint</Application>
  <PresentationFormat>Widescreen</PresentationFormat>
  <Paragraphs>0</Paragraphs>
  <Slides>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17" baseType="lpstr">
      <vt:lpstr>Arial</vt:lpstr>
      <vt:lpstr>Calibri</vt:lpstr>
      <vt:lpstr>Segoe UI</vt:lpstr>
      <vt:lpstr>Segoe UI </vt:lpstr>
      <vt:lpstr>Segoe UI Light</vt:lpstr>
      <vt:lpstr>Segoe UI Semibold</vt:lpstr>
      <vt:lpstr>Visa Dialect Medium</vt:lpstr>
      <vt:lpstr>Visa Dialect Regular</vt:lpstr>
      <vt:lpstr>Visa Dialect Semibold</vt:lpstr>
      <vt:lpstr>VCA 2021 Theme_v2</vt:lpstr>
      <vt:lpstr>Visa Master Theme</vt:lpstr>
      <vt:lpstr>1_Visa Master Theme</vt:lpstr>
      <vt:lpstr>5_Visa Theme</vt:lpstr>
      <vt:lpstr>Visa Theme</vt:lpstr>
      <vt:lpstr>VCA 2021 Theme</vt:lpstr>
      <vt:lpstr>2_Visa Master Theme</vt:lpstr>
      <vt:lpstr>think-cell Slid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</dc:title>
  <dc:creator>Gassman, Robert</dc:creator>
  <cp:keywords/>
  <cp:lastModifiedBy>Lalit Gupta</cp:lastModifiedBy>
  <cp:revision>58</cp:revision>
  <dcterms:created xsi:type="dcterms:W3CDTF">2022-01-06T18:41:35Z</dcterms:created>
  <dcterms:modified xsi:type="dcterms:W3CDTF">2024-08-12T11:35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0f89cb5-682d-4be4-b0e0-739c9b4a93d4_Enabled">
    <vt:lpwstr>true</vt:lpwstr>
  </property>
  <property fmtid="{D5CDD505-2E9C-101B-9397-08002B2CF9AE}" pid="3" name="MSIP_Label_a0f89cb5-682d-4be4-b0e0-739c9b4a93d4_SetDate">
    <vt:lpwstr>2022-01-06T18:41:35Z</vt:lpwstr>
  </property>
  <property fmtid="{D5CDD505-2E9C-101B-9397-08002B2CF9AE}" pid="4" name="MSIP_Label_a0f89cb5-682d-4be4-b0e0-739c9b4a93d4_Method">
    <vt:lpwstr>Standard</vt:lpwstr>
  </property>
  <property fmtid="{D5CDD505-2E9C-101B-9397-08002B2CF9AE}" pid="5" name="MSIP_Label_a0f89cb5-682d-4be4-b0e0-739c9b4a93d4_Name">
    <vt:lpwstr>Not Classified</vt:lpwstr>
  </property>
  <property fmtid="{D5CDD505-2E9C-101B-9397-08002B2CF9AE}" pid="6" name="MSIP_Label_a0f89cb5-682d-4be4-b0e0-739c9b4a93d4_SiteId">
    <vt:lpwstr>38305e12-e15d-4ee8-88b9-c4db1c477d76</vt:lpwstr>
  </property>
  <property fmtid="{D5CDD505-2E9C-101B-9397-08002B2CF9AE}" pid="7" name="MSIP_Label_a0f89cb5-682d-4be4-b0e0-739c9b4a93d4_ActionId">
    <vt:lpwstr>430a313a-7f64-4e1e-ae8f-0d7d4848b1ed</vt:lpwstr>
  </property>
  <property fmtid="{D5CDD505-2E9C-101B-9397-08002B2CF9AE}" pid="8" name="MSIP_Label_a0f89cb5-682d-4be4-b0e0-739c9b4a93d4_ContentBits">
    <vt:lpwstr>0</vt:lpwstr>
  </property>
  <property fmtid="{D5CDD505-2E9C-101B-9397-08002B2CF9AE}" pid="9" name="ContentTypeId">
    <vt:lpwstr>0x010100C91F698197ECBB459E7DE073A6AA6D20</vt:lpwstr>
  </property>
  <property fmtid="{D5CDD505-2E9C-101B-9397-08002B2CF9AE}" pid="10" name="TaxKeyword">
    <vt:lpwstr/>
  </property>
  <property fmtid="{D5CDD505-2E9C-101B-9397-08002B2CF9AE}" pid="11" name="MediaServiceImageTags">
    <vt:lpwstr/>
  </property>
  <property fmtid="{D5CDD505-2E9C-101B-9397-08002B2CF9AE}" pid="12" name="xd_ProgID">
    <vt:lpwstr/>
  </property>
  <property fmtid="{D5CDD505-2E9C-101B-9397-08002B2CF9AE}" pid="13" name="ComplianceAssetId">
    <vt:lpwstr/>
  </property>
  <property fmtid="{D5CDD505-2E9C-101B-9397-08002B2CF9AE}" pid="14" name="TemplateUrl">
    <vt:lpwstr/>
  </property>
  <property fmtid="{D5CDD505-2E9C-101B-9397-08002B2CF9AE}" pid="15" name="_ExtendedDescription">
    <vt:lpwstr/>
  </property>
  <property fmtid="{D5CDD505-2E9C-101B-9397-08002B2CF9AE}" pid="16" name="TriggerFlowInfo">
    <vt:lpwstr/>
  </property>
  <property fmtid="{D5CDD505-2E9C-101B-9397-08002B2CF9AE}" pid="17" name="xd_Signature">
    <vt:lpwstr/>
  </property>
  <property fmtid="{D5CDD505-2E9C-101B-9397-08002B2CF9AE}" pid="18" name="SharedWithUsers">
    <vt:lpwstr>637;#Reyes, Vincent;#1465;#Akella, Chirag</vt:lpwstr>
  </property>
</Properties>
</file>